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70"/>
  </p:notesMasterIdLst>
  <p:handoutMasterIdLst>
    <p:handoutMasterId r:id="rId71"/>
  </p:handoutMasterIdLst>
  <p:sldIdLst>
    <p:sldId id="693" r:id="rId5"/>
    <p:sldId id="681" r:id="rId6"/>
    <p:sldId id="682" r:id="rId7"/>
    <p:sldId id="678" r:id="rId8"/>
    <p:sldId id="689" r:id="rId9"/>
    <p:sldId id="695" r:id="rId10"/>
    <p:sldId id="683" r:id="rId11"/>
    <p:sldId id="687" r:id="rId12"/>
    <p:sldId id="668" r:id="rId13"/>
    <p:sldId id="697" r:id="rId14"/>
    <p:sldId id="703" r:id="rId15"/>
    <p:sldId id="704" r:id="rId16"/>
    <p:sldId id="717" r:id="rId17"/>
    <p:sldId id="725" r:id="rId18"/>
    <p:sldId id="726" r:id="rId19"/>
    <p:sldId id="784" r:id="rId20"/>
    <p:sldId id="760" r:id="rId21"/>
    <p:sldId id="710" r:id="rId22"/>
    <p:sldId id="761" r:id="rId23"/>
    <p:sldId id="762" r:id="rId24"/>
    <p:sldId id="763" r:id="rId25"/>
    <p:sldId id="764" r:id="rId26"/>
    <p:sldId id="765" r:id="rId27"/>
    <p:sldId id="766" r:id="rId28"/>
    <p:sldId id="729" r:id="rId29"/>
    <p:sldId id="767" r:id="rId30"/>
    <p:sldId id="730" r:id="rId31"/>
    <p:sldId id="789" r:id="rId32"/>
    <p:sldId id="790" r:id="rId33"/>
    <p:sldId id="733" r:id="rId34"/>
    <p:sldId id="785" r:id="rId35"/>
    <p:sldId id="734" r:id="rId36"/>
    <p:sldId id="711" r:id="rId37"/>
    <p:sldId id="735" r:id="rId38"/>
    <p:sldId id="736" r:id="rId39"/>
    <p:sldId id="791" r:id="rId40"/>
    <p:sldId id="792" r:id="rId41"/>
    <p:sldId id="769" r:id="rId42"/>
    <p:sldId id="770" r:id="rId43"/>
    <p:sldId id="771" r:id="rId44"/>
    <p:sldId id="743" r:id="rId45"/>
    <p:sldId id="786" r:id="rId46"/>
    <p:sldId id="744" r:id="rId47"/>
    <p:sldId id="713" r:id="rId48"/>
    <p:sldId id="745" r:id="rId49"/>
    <p:sldId id="773" r:id="rId50"/>
    <p:sldId id="774" r:id="rId51"/>
    <p:sldId id="775" r:id="rId52"/>
    <p:sldId id="747" r:id="rId53"/>
    <p:sldId id="746" r:id="rId54"/>
    <p:sldId id="748" r:id="rId55"/>
    <p:sldId id="749" r:id="rId56"/>
    <p:sldId id="751" r:id="rId57"/>
    <p:sldId id="787" r:id="rId58"/>
    <p:sldId id="777" r:id="rId59"/>
    <p:sldId id="714" r:id="rId60"/>
    <p:sldId id="753" r:id="rId61"/>
    <p:sldId id="724" r:id="rId62"/>
    <p:sldId id="778" r:id="rId63"/>
    <p:sldId id="779" r:id="rId64"/>
    <p:sldId id="780" r:id="rId65"/>
    <p:sldId id="756" r:id="rId66"/>
    <p:sldId id="757" r:id="rId67"/>
    <p:sldId id="788" r:id="rId68"/>
    <p:sldId id="692" r:id="rId69"/>
  </p:sldIdLst>
  <p:sldSz cx="12192000" cy="6858000"/>
  <p:notesSz cx="6858000" cy="9144000"/>
  <p:defaultTex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2496B7-485F-7B69-F7DE-F8CDD527168F}" name="Paula Whyte ( Momentum Consulting )" initials="PW(MC)" userId="S::paula@momentumconsulting.ie::a1b8e930-d272-4933-b1a2-fcb29f5bf11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C2F"/>
    <a:srgbClr val="0F486D"/>
    <a:srgbClr val="60BA47"/>
    <a:srgbClr val="F3F3F3"/>
    <a:srgbClr val="F4F4F4"/>
    <a:srgbClr val="DB176A"/>
    <a:srgbClr val="F99F27"/>
    <a:srgbClr val="E87A33"/>
    <a:srgbClr val="1D93D1"/>
    <a:srgbClr val="2094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086EFB-A961-43C2-A219-853B8B984F91}" v="9" dt="2024-11-15T09:28:36.6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3934"/>
  </p:normalViewPr>
  <p:slideViewPr>
    <p:cSldViewPr snapToGrid="0" snapToObjects="1">
      <p:cViewPr varScale="1">
        <p:scale>
          <a:sx n="63" d="100"/>
          <a:sy n="63" d="100"/>
        </p:scale>
        <p:origin x="916" y="3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71" d="100"/>
          <a:sy n="71" d="100"/>
        </p:scale>
        <p:origin x="2448"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bie Melia  (EU Projects &amp; Communication Specialist)" userId="2d1a2eb5-dfb4-4d11-8423-60408b1fc395" providerId="ADAL" clId="{9564C84F-EEC9-4D0B-BE2E-5C2C7606A7F7}"/>
    <pc:docChg chg="undo custSel addSld delSld modSld sldOrd">
      <pc:chgData name="Albie Melia  (EU Projects &amp; Communication Specialist)" userId="2d1a2eb5-dfb4-4d11-8423-60408b1fc395" providerId="ADAL" clId="{9564C84F-EEC9-4D0B-BE2E-5C2C7606A7F7}" dt="2024-07-08T14:57:11.486" v="2260" actId="20577"/>
      <pc:docMkLst>
        <pc:docMk/>
      </pc:docMkLst>
      <pc:sldChg chg="modSp mod">
        <pc:chgData name="Albie Melia  (EU Projects &amp; Communication Specialist)" userId="2d1a2eb5-dfb4-4d11-8423-60408b1fc395" providerId="ADAL" clId="{9564C84F-EEC9-4D0B-BE2E-5C2C7606A7F7}" dt="2024-07-03T10:59:04.723" v="133" actId="20577"/>
        <pc:sldMkLst>
          <pc:docMk/>
          <pc:sldMk cId="3996798459" sldId="668"/>
        </pc:sldMkLst>
        <pc:spChg chg="mod">
          <ac:chgData name="Albie Melia  (EU Projects &amp; Communication Specialist)" userId="2d1a2eb5-dfb4-4d11-8423-60408b1fc395" providerId="ADAL" clId="{9564C84F-EEC9-4D0B-BE2E-5C2C7606A7F7}" dt="2024-07-03T10:59:04.723" v="133" actId="20577"/>
          <ac:spMkLst>
            <pc:docMk/>
            <pc:sldMk cId="3996798459" sldId="668"/>
            <ac:spMk id="10" creationId="{F8251304-71BA-DB4B-935B-6BA8C2444400}"/>
          </ac:spMkLst>
        </pc:spChg>
      </pc:sldChg>
      <pc:sldChg chg="modSp mod">
        <pc:chgData name="Albie Melia  (EU Projects &amp; Communication Specialist)" userId="2d1a2eb5-dfb4-4d11-8423-60408b1fc395" providerId="ADAL" clId="{9564C84F-EEC9-4D0B-BE2E-5C2C7606A7F7}" dt="2024-07-03T10:32:44.724" v="13" actId="20577"/>
        <pc:sldMkLst>
          <pc:docMk/>
          <pc:sldMk cId="2924682848" sldId="678"/>
        </pc:sldMkLst>
        <pc:spChg chg="mod">
          <ac:chgData name="Albie Melia  (EU Projects &amp; Communication Specialist)" userId="2d1a2eb5-dfb4-4d11-8423-60408b1fc395" providerId="ADAL" clId="{9564C84F-EEC9-4D0B-BE2E-5C2C7606A7F7}" dt="2024-07-03T10:32:44.724" v="13" actId="20577"/>
          <ac:spMkLst>
            <pc:docMk/>
            <pc:sldMk cId="2924682848" sldId="678"/>
            <ac:spMk id="67" creationId="{76EC7856-B0EC-004E-A2BE-9CF77555B8D1}"/>
          </ac:spMkLst>
        </pc:spChg>
      </pc:sldChg>
      <pc:sldChg chg="modSp mod">
        <pc:chgData name="Albie Melia  (EU Projects &amp; Communication Specialist)" userId="2d1a2eb5-dfb4-4d11-8423-60408b1fc395" providerId="ADAL" clId="{9564C84F-EEC9-4D0B-BE2E-5C2C7606A7F7}" dt="2024-07-03T10:35:46.257" v="59" actId="20577"/>
        <pc:sldMkLst>
          <pc:docMk/>
          <pc:sldMk cId="3578671677" sldId="689"/>
        </pc:sldMkLst>
        <pc:spChg chg="mod">
          <ac:chgData name="Albie Melia  (EU Projects &amp; Communication Specialist)" userId="2d1a2eb5-dfb4-4d11-8423-60408b1fc395" providerId="ADAL" clId="{9564C84F-EEC9-4D0B-BE2E-5C2C7606A7F7}" dt="2024-07-03T10:34:52.635" v="21" actId="1076"/>
          <ac:spMkLst>
            <pc:docMk/>
            <pc:sldMk cId="3578671677" sldId="689"/>
            <ac:spMk id="2" creationId="{8FA217D6-4AA2-CB4D-9D63-D41980307DD7}"/>
          </ac:spMkLst>
        </pc:spChg>
        <pc:spChg chg="mod">
          <ac:chgData name="Albie Melia  (EU Projects &amp; Communication Specialist)" userId="2d1a2eb5-dfb4-4d11-8423-60408b1fc395" providerId="ADAL" clId="{9564C84F-EEC9-4D0B-BE2E-5C2C7606A7F7}" dt="2024-07-03T10:35:46.257" v="59" actId="20577"/>
          <ac:spMkLst>
            <pc:docMk/>
            <pc:sldMk cId="3578671677" sldId="689"/>
            <ac:spMk id="3" creationId="{35AC186C-5DE3-6542-A610-70101C6B0F93}"/>
          </ac:spMkLst>
        </pc:spChg>
      </pc:sldChg>
      <pc:sldChg chg="modSp mod">
        <pc:chgData name="Albie Melia  (EU Projects &amp; Communication Specialist)" userId="2d1a2eb5-dfb4-4d11-8423-60408b1fc395" providerId="ADAL" clId="{9564C84F-EEC9-4D0B-BE2E-5C2C7606A7F7}" dt="2024-07-03T10:38:18.767" v="82" actId="1076"/>
        <pc:sldMkLst>
          <pc:docMk/>
          <pc:sldMk cId="1104856312" sldId="695"/>
        </pc:sldMkLst>
        <pc:spChg chg="mod">
          <ac:chgData name="Albie Melia  (EU Projects &amp; Communication Specialist)" userId="2d1a2eb5-dfb4-4d11-8423-60408b1fc395" providerId="ADAL" clId="{9564C84F-EEC9-4D0B-BE2E-5C2C7606A7F7}" dt="2024-07-03T10:38:18.767" v="82" actId="1076"/>
          <ac:spMkLst>
            <pc:docMk/>
            <pc:sldMk cId="1104856312" sldId="695"/>
            <ac:spMk id="2" creationId="{8FA217D6-4AA2-CB4D-9D63-D41980307DD7}"/>
          </ac:spMkLst>
        </pc:spChg>
        <pc:spChg chg="mod">
          <ac:chgData name="Albie Melia  (EU Projects &amp; Communication Specialist)" userId="2d1a2eb5-dfb4-4d11-8423-60408b1fc395" providerId="ADAL" clId="{9564C84F-EEC9-4D0B-BE2E-5C2C7606A7F7}" dt="2024-07-03T10:38:16.460" v="81" actId="1076"/>
          <ac:spMkLst>
            <pc:docMk/>
            <pc:sldMk cId="1104856312" sldId="695"/>
            <ac:spMk id="3" creationId="{35AC186C-5DE3-6542-A610-70101C6B0F93}"/>
          </ac:spMkLst>
        </pc:spChg>
      </pc:sldChg>
      <pc:sldChg chg="del">
        <pc:chgData name="Albie Melia  (EU Projects &amp; Communication Specialist)" userId="2d1a2eb5-dfb4-4d11-8423-60408b1fc395" providerId="ADAL" clId="{9564C84F-EEC9-4D0B-BE2E-5C2C7606A7F7}" dt="2024-07-08T14:10:06.968" v="1885" actId="47"/>
        <pc:sldMkLst>
          <pc:docMk/>
          <pc:sldMk cId="2373457710" sldId="696"/>
        </pc:sldMkLst>
      </pc:sldChg>
      <pc:sldChg chg="modSp mod">
        <pc:chgData name="Albie Melia  (EU Projects &amp; Communication Specialist)" userId="2d1a2eb5-dfb4-4d11-8423-60408b1fc395" providerId="ADAL" clId="{9564C84F-EEC9-4D0B-BE2E-5C2C7606A7F7}" dt="2024-07-03T11:22:44.643" v="151"/>
        <pc:sldMkLst>
          <pc:docMk/>
          <pc:sldMk cId="661043577" sldId="697"/>
        </pc:sldMkLst>
        <pc:spChg chg="mod">
          <ac:chgData name="Albie Melia  (EU Projects &amp; Communication Specialist)" userId="2d1a2eb5-dfb4-4d11-8423-60408b1fc395" providerId="ADAL" clId="{9564C84F-EEC9-4D0B-BE2E-5C2C7606A7F7}" dt="2024-07-03T11:08:18.691" v="136" actId="14100"/>
          <ac:spMkLst>
            <pc:docMk/>
            <pc:sldMk cId="661043577" sldId="697"/>
            <ac:spMk id="8" creationId="{425817A8-4434-7A42-8FDC-D5DBA4F4E62B}"/>
          </ac:spMkLst>
        </pc:spChg>
        <pc:spChg chg="mod">
          <ac:chgData name="Albie Melia  (EU Projects &amp; Communication Specialist)" userId="2d1a2eb5-dfb4-4d11-8423-60408b1fc395" providerId="ADAL" clId="{9564C84F-EEC9-4D0B-BE2E-5C2C7606A7F7}" dt="2024-07-03T11:22:44.643" v="151"/>
          <ac:spMkLst>
            <pc:docMk/>
            <pc:sldMk cId="661043577" sldId="697"/>
            <ac:spMk id="10" creationId="{F8251304-71BA-DB4B-935B-6BA8C2444400}"/>
          </ac:spMkLst>
        </pc:spChg>
      </pc:sldChg>
      <pc:sldChg chg="modSp mod">
        <pc:chgData name="Albie Melia  (EU Projects &amp; Communication Specialist)" userId="2d1a2eb5-dfb4-4d11-8423-60408b1fc395" providerId="ADAL" clId="{9564C84F-EEC9-4D0B-BE2E-5C2C7606A7F7}" dt="2024-07-03T12:47:21.572" v="729"/>
        <pc:sldMkLst>
          <pc:docMk/>
          <pc:sldMk cId="1183603540" sldId="698"/>
        </pc:sldMkLst>
        <pc:spChg chg="mod">
          <ac:chgData name="Albie Melia  (EU Projects &amp; Communication Specialist)" userId="2d1a2eb5-dfb4-4d11-8423-60408b1fc395" providerId="ADAL" clId="{9564C84F-EEC9-4D0B-BE2E-5C2C7606A7F7}" dt="2024-07-03T12:47:21.572" v="729"/>
          <ac:spMkLst>
            <pc:docMk/>
            <pc:sldMk cId="1183603540" sldId="698"/>
            <ac:spMk id="8" creationId="{425817A8-4434-7A42-8FDC-D5DBA4F4E62B}"/>
          </ac:spMkLst>
        </pc:spChg>
        <pc:spChg chg="mod">
          <ac:chgData name="Albie Melia  (EU Projects &amp; Communication Specialist)" userId="2d1a2eb5-dfb4-4d11-8423-60408b1fc395" providerId="ADAL" clId="{9564C84F-EEC9-4D0B-BE2E-5C2C7606A7F7}" dt="2024-07-03T12:47:13.314" v="728" actId="313"/>
          <ac:spMkLst>
            <pc:docMk/>
            <pc:sldMk cId="1183603540" sldId="698"/>
            <ac:spMk id="10" creationId="{F8251304-71BA-DB4B-935B-6BA8C2444400}"/>
          </ac:spMkLst>
        </pc:spChg>
      </pc:sldChg>
      <pc:sldChg chg="modSp mod">
        <pc:chgData name="Albie Melia  (EU Projects &amp; Communication Specialist)" userId="2d1a2eb5-dfb4-4d11-8423-60408b1fc395" providerId="ADAL" clId="{9564C84F-EEC9-4D0B-BE2E-5C2C7606A7F7}" dt="2024-07-03T12:48:28.042" v="754" actId="20577"/>
        <pc:sldMkLst>
          <pc:docMk/>
          <pc:sldMk cId="3381762566" sldId="699"/>
        </pc:sldMkLst>
        <pc:spChg chg="mod">
          <ac:chgData name="Albie Melia  (EU Projects &amp; Communication Specialist)" userId="2d1a2eb5-dfb4-4d11-8423-60408b1fc395" providerId="ADAL" clId="{9564C84F-EEC9-4D0B-BE2E-5C2C7606A7F7}" dt="2024-07-03T12:48:21.473" v="752" actId="1076"/>
          <ac:spMkLst>
            <pc:docMk/>
            <pc:sldMk cId="3381762566" sldId="699"/>
            <ac:spMk id="8" creationId="{425817A8-4434-7A42-8FDC-D5DBA4F4E62B}"/>
          </ac:spMkLst>
        </pc:spChg>
        <pc:spChg chg="mod">
          <ac:chgData name="Albie Melia  (EU Projects &amp; Communication Specialist)" userId="2d1a2eb5-dfb4-4d11-8423-60408b1fc395" providerId="ADAL" clId="{9564C84F-EEC9-4D0B-BE2E-5C2C7606A7F7}" dt="2024-07-03T12:48:28.042" v="754" actId="20577"/>
          <ac:spMkLst>
            <pc:docMk/>
            <pc:sldMk cId="3381762566" sldId="699"/>
            <ac:spMk id="10" creationId="{F8251304-71BA-DB4B-935B-6BA8C2444400}"/>
          </ac:spMkLst>
        </pc:spChg>
      </pc:sldChg>
      <pc:sldChg chg="modSp mod">
        <pc:chgData name="Albie Melia  (EU Projects &amp; Communication Specialist)" userId="2d1a2eb5-dfb4-4d11-8423-60408b1fc395" providerId="ADAL" clId="{9564C84F-EEC9-4D0B-BE2E-5C2C7606A7F7}" dt="2024-07-03T12:48:56.287" v="779" actId="1076"/>
        <pc:sldMkLst>
          <pc:docMk/>
          <pc:sldMk cId="3294281215" sldId="700"/>
        </pc:sldMkLst>
        <pc:spChg chg="mod">
          <ac:chgData name="Albie Melia  (EU Projects &amp; Communication Specialist)" userId="2d1a2eb5-dfb4-4d11-8423-60408b1fc395" providerId="ADAL" clId="{9564C84F-EEC9-4D0B-BE2E-5C2C7606A7F7}" dt="2024-07-03T12:48:56.287" v="779" actId="1076"/>
          <ac:spMkLst>
            <pc:docMk/>
            <pc:sldMk cId="3294281215" sldId="700"/>
            <ac:spMk id="8" creationId="{425817A8-4434-7A42-8FDC-D5DBA4F4E62B}"/>
          </ac:spMkLst>
        </pc:spChg>
        <pc:spChg chg="mod">
          <ac:chgData name="Albie Melia  (EU Projects &amp; Communication Specialist)" userId="2d1a2eb5-dfb4-4d11-8423-60408b1fc395" providerId="ADAL" clId="{9564C84F-EEC9-4D0B-BE2E-5C2C7606A7F7}" dt="2024-07-03T12:48:43.108" v="763" actId="20577"/>
          <ac:spMkLst>
            <pc:docMk/>
            <pc:sldMk cId="3294281215" sldId="700"/>
            <ac:spMk id="10" creationId="{F8251304-71BA-DB4B-935B-6BA8C2444400}"/>
          </ac:spMkLst>
        </pc:spChg>
      </pc:sldChg>
      <pc:sldChg chg="modSp mod">
        <pc:chgData name="Albie Melia  (EU Projects &amp; Communication Specialist)" userId="2d1a2eb5-dfb4-4d11-8423-60408b1fc395" providerId="ADAL" clId="{9564C84F-EEC9-4D0B-BE2E-5C2C7606A7F7}" dt="2024-07-03T12:49:31.163" v="806" actId="20577"/>
        <pc:sldMkLst>
          <pc:docMk/>
          <pc:sldMk cId="317311209" sldId="701"/>
        </pc:sldMkLst>
        <pc:spChg chg="mod">
          <ac:chgData name="Albie Melia  (EU Projects &amp; Communication Specialist)" userId="2d1a2eb5-dfb4-4d11-8423-60408b1fc395" providerId="ADAL" clId="{9564C84F-EEC9-4D0B-BE2E-5C2C7606A7F7}" dt="2024-07-03T12:49:19.152" v="793" actId="1076"/>
          <ac:spMkLst>
            <pc:docMk/>
            <pc:sldMk cId="317311209" sldId="701"/>
            <ac:spMk id="8" creationId="{425817A8-4434-7A42-8FDC-D5DBA4F4E62B}"/>
          </ac:spMkLst>
        </pc:spChg>
        <pc:spChg chg="mod">
          <ac:chgData name="Albie Melia  (EU Projects &amp; Communication Specialist)" userId="2d1a2eb5-dfb4-4d11-8423-60408b1fc395" providerId="ADAL" clId="{9564C84F-EEC9-4D0B-BE2E-5C2C7606A7F7}" dt="2024-07-03T12:49:31.163" v="806" actId="20577"/>
          <ac:spMkLst>
            <pc:docMk/>
            <pc:sldMk cId="317311209" sldId="701"/>
            <ac:spMk id="10" creationId="{F8251304-71BA-DB4B-935B-6BA8C2444400}"/>
          </ac:spMkLst>
        </pc:spChg>
      </pc:sldChg>
      <pc:sldChg chg="del">
        <pc:chgData name="Albie Melia  (EU Projects &amp; Communication Specialist)" userId="2d1a2eb5-dfb4-4d11-8423-60408b1fc395" providerId="ADAL" clId="{9564C84F-EEC9-4D0B-BE2E-5C2C7606A7F7}" dt="2024-07-03T14:54:40.958" v="1148" actId="47"/>
        <pc:sldMkLst>
          <pc:docMk/>
          <pc:sldMk cId="3192262632" sldId="702"/>
        </pc:sldMkLst>
      </pc:sldChg>
      <pc:sldChg chg="modSp mod ord">
        <pc:chgData name="Albie Melia  (EU Projects &amp; Communication Specialist)" userId="2d1a2eb5-dfb4-4d11-8423-60408b1fc395" providerId="ADAL" clId="{9564C84F-EEC9-4D0B-BE2E-5C2C7606A7F7}" dt="2024-07-03T11:24:53.624" v="184" actId="1076"/>
        <pc:sldMkLst>
          <pc:docMk/>
          <pc:sldMk cId="2852152955" sldId="703"/>
        </pc:sldMkLst>
        <pc:spChg chg="mod">
          <ac:chgData name="Albie Melia  (EU Projects &amp; Communication Specialist)" userId="2d1a2eb5-dfb4-4d11-8423-60408b1fc395" providerId="ADAL" clId="{9564C84F-EEC9-4D0B-BE2E-5C2C7606A7F7}" dt="2024-07-03T11:23:15.834" v="162" actId="20577"/>
          <ac:spMkLst>
            <pc:docMk/>
            <pc:sldMk cId="2852152955" sldId="703"/>
            <ac:spMk id="2" creationId="{1EAF5495-4573-34EC-1875-9135E0DCD272}"/>
          </ac:spMkLst>
        </pc:spChg>
        <pc:spChg chg="mod">
          <ac:chgData name="Albie Melia  (EU Projects &amp; Communication Specialist)" userId="2d1a2eb5-dfb4-4d11-8423-60408b1fc395" providerId="ADAL" clId="{9564C84F-EEC9-4D0B-BE2E-5C2C7606A7F7}" dt="2024-07-03T11:23:11.708" v="159" actId="21"/>
          <ac:spMkLst>
            <pc:docMk/>
            <pc:sldMk cId="2852152955" sldId="703"/>
            <ac:spMk id="3" creationId="{61D8C235-EF9C-BCBF-4F8F-7F2CADA42260}"/>
          </ac:spMkLst>
        </pc:spChg>
        <pc:spChg chg="mod">
          <ac:chgData name="Albie Melia  (EU Projects &amp; Communication Specialist)" userId="2d1a2eb5-dfb4-4d11-8423-60408b1fc395" providerId="ADAL" clId="{9564C84F-EEC9-4D0B-BE2E-5C2C7606A7F7}" dt="2024-07-03T11:24:46.049" v="181" actId="1076"/>
          <ac:spMkLst>
            <pc:docMk/>
            <pc:sldMk cId="2852152955" sldId="703"/>
            <ac:spMk id="4" creationId="{5F095870-C567-AE12-61EE-8EDAEC6D16B5}"/>
          </ac:spMkLst>
        </pc:spChg>
        <pc:spChg chg="mod">
          <ac:chgData name="Albie Melia  (EU Projects &amp; Communication Specialist)" userId="2d1a2eb5-dfb4-4d11-8423-60408b1fc395" providerId="ADAL" clId="{9564C84F-EEC9-4D0B-BE2E-5C2C7606A7F7}" dt="2024-07-03T11:24:48.957" v="182" actId="1076"/>
          <ac:spMkLst>
            <pc:docMk/>
            <pc:sldMk cId="2852152955" sldId="703"/>
            <ac:spMk id="5" creationId="{E6AA13D5-E327-873C-4A0C-BE99CCC422BD}"/>
          </ac:spMkLst>
        </pc:spChg>
        <pc:spChg chg="mod">
          <ac:chgData name="Albie Melia  (EU Projects &amp; Communication Specialist)" userId="2d1a2eb5-dfb4-4d11-8423-60408b1fc395" providerId="ADAL" clId="{9564C84F-EEC9-4D0B-BE2E-5C2C7606A7F7}" dt="2024-07-03T11:24:51.781" v="183" actId="1076"/>
          <ac:spMkLst>
            <pc:docMk/>
            <pc:sldMk cId="2852152955" sldId="703"/>
            <ac:spMk id="6" creationId="{43AF2EA0-3112-AC1C-5020-E6AF8DFE1F14}"/>
          </ac:spMkLst>
        </pc:spChg>
        <pc:spChg chg="mod">
          <ac:chgData name="Albie Melia  (EU Projects &amp; Communication Specialist)" userId="2d1a2eb5-dfb4-4d11-8423-60408b1fc395" providerId="ADAL" clId="{9564C84F-EEC9-4D0B-BE2E-5C2C7606A7F7}" dt="2024-07-03T11:24:53.624" v="184" actId="1076"/>
          <ac:spMkLst>
            <pc:docMk/>
            <pc:sldMk cId="2852152955" sldId="703"/>
            <ac:spMk id="7" creationId="{DAD18C4D-738E-5E20-4A70-47667FCD743D}"/>
          </ac:spMkLst>
        </pc:spChg>
      </pc:sldChg>
      <pc:sldChg chg="addSp modSp mod ord">
        <pc:chgData name="Albie Melia  (EU Projects &amp; Communication Specialist)" userId="2d1a2eb5-dfb4-4d11-8423-60408b1fc395" providerId="ADAL" clId="{9564C84F-EEC9-4D0B-BE2E-5C2C7606A7F7}" dt="2024-07-03T11:26:35.275" v="207" actId="20577"/>
        <pc:sldMkLst>
          <pc:docMk/>
          <pc:sldMk cId="245377117" sldId="704"/>
        </pc:sldMkLst>
        <pc:spChg chg="mod">
          <ac:chgData name="Albie Melia  (EU Projects &amp; Communication Specialist)" userId="2d1a2eb5-dfb4-4d11-8423-60408b1fc395" providerId="ADAL" clId="{9564C84F-EEC9-4D0B-BE2E-5C2C7606A7F7}" dt="2024-07-03T11:26:20.218" v="202"/>
          <ac:spMkLst>
            <pc:docMk/>
            <pc:sldMk cId="245377117" sldId="704"/>
            <ac:spMk id="2" creationId="{3D2C644E-3BDB-BE26-327F-6EB1B2F033C4}"/>
          </ac:spMkLst>
        </pc:spChg>
        <pc:spChg chg="mod">
          <ac:chgData name="Albie Melia  (EU Projects &amp; Communication Specialist)" userId="2d1a2eb5-dfb4-4d11-8423-60408b1fc395" providerId="ADAL" clId="{9564C84F-EEC9-4D0B-BE2E-5C2C7606A7F7}" dt="2024-07-03T11:26:17.310" v="201" actId="6549"/>
          <ac:spMkLst>
            <pc:docMk/>
            <pc:sldMk cId="245377117" sldId="704"/>
            <ac:spMk id="3" creationId="{06CA7140-FA10-8887-3971-BE0BA0CB5742}"/>
          </ac:spMkLst>
        </pc:spChg>
        <pc:spChg chg="mod">
          <ac:chgData name="Albie Melia  (EU Projects &amp; Communication Specialist)" userId="2d1a2eb5-dfb4-4d11-8423-60408b1fc395" providerId="ADAL" clId="{9564C84F-EEC9-4D0B-BE2E-5C2C7606A7F7}" dt="2024-07-03T11:26:32.848" v="205"/>
          <ac:spMkLst>
            <pc:docMk/>
            <pc:sldMk cId="245377117" sldId="704"/>
            <ac:spMk id="4" creationId="{9E77E1B6-93C5-1D40-00E9-C0509079BEF2}"/>
          </ac:spMkLst>
        </pc:spChg>
        <pc:spChg chg="mod">
          <ac:chgData name="Albie Melia  (EU Projects &amp; Communication Specialist)" userId="2d1a2eb5-dfb4-4d11-8423-60408b1fc395" providerId="ADAL" clId="{9564C84F-EEC9-4D0B-BE2E-5C2C7606A7F7}" dt="2024-07-03T11:26:35.275" v="207" actId="20577"/>
          <ac:spMkLst>
            <pc:docMk/>
            <pc:sldMk cId="245377117" sldId="704"/>
            <ac:spMk id="5" creationId="{AFFF572B-3D16-8DCC-DA9F-26EADD2831AD}"/>
          </ac:spMkLst>
        </pc:spChg>
        <pc:spChg chg="add mod">
          <ac:chgData name="Albie Melia  (EU Projects &amp; Communication Specialist)" userId="2d1a2eb5-dfb4-4d11-8423-60408b1fc395" providerId="ADAL" clId="{9564C84F-EEC9-4D0B-BE2E-5C2C7606A7F7}" dt="2024-07-03T11:25:58.826" v="197"/>
          <ac:spMkLst>
            <pc:docMk/>
            <pc:sldMk cId="245377117" sldId="704"/>
            <ac:spMk id="9" creationId="{5C6477A3-B312-6E78-5C0A-39792DAB69F4}"/>
          </ac:spMkLst>
        </pc:spChg>
      </pc:sldChg>
      <pc:sldChg chg="del">
        <pc:chgData name="Albie Melia  (EU Projects &amp; Communication Specialist)" userId="2d1a2eb5-dfb4-4d11-8423-60408b1fc395" providerId="ADAL" clId="{9564C84F-EEC9-4D0B-BE2E-5C2C7606A7F7}" dt="2024-07-08T14:10:01.156" v="1883" actId="47"/>
        <pc:sldMkLst>
          <pc:docMk/>
          <pc:sldMk cId="4228572281" sldId="705"/>
        </pc:sldMkLst>
      </pc:sldChg>
      <pc:sldChg chg="del">
        <pc:chgData name="Albie Melia  (EU Projects &amp; Communication Specialist)" userId="2d1a2eb5-dfb4-4d11-8423-60408b1fc395" providerId="ADAL" clId="{9564C84F-EEC9-4D0B-BE2E-5C2C7606A7F7}" dt="2024-07-08T14:10:03.578" v="1884" actId="47"/>
        <pc:sldMkLst>
          <pc:docMk/>
          <pc:sldMk cId="2017838993" sldId="706"/>
        </pc:sldMkLst>
      </pc:sldChg>
      <pc:sldChg chg="addSp modSp mod ord">
        <pc:chgData name="Albie Melia  (EU Projects &amp; Communication Specialist)" userId="2d1a2eb5-dfb4-4d11-8423-60408b1fc395" providerId="ADAL" clId="{9564C84F-EEC9-4D0B-BE2E-5C2C7606A7F7}" dt="2024-07-03T11:55:25.705" v="653" actId="20577"/>
        <pc:sldMkLst>
          <pc:docMk/>
          <pc:sldMk cId="1869586709" sldId="707"/>
        </pc:sldMkLst>
        <pc:spChg chg="mod">
          <ac:chgData name="Albie Melia  (EU Projects &amp; Communication Specialist)" userId="2d1a2eb5-dfb4-4d11-8423-60408b1fc395" providerId="ADAL" clId="{9564C84F-EEC9-4D0B-BE2E-5C2C7606A7F7}" dt="2024-07-03T11:54:02.125" v="648" actId="1076"/>
          <ac:spMkLst>
            <pc:docMk/>
            <pc:sldMk cId="1869586709" sldId="707"/>
            <ac:spMk id="3" creationId="{5ECD864F-12FC-444B-495D-A5E327843E5F}"/>
          </ac:spMkLst>
        </pc:spChg>
        <pc:spChg chg="mod">
          <ac:chgData name="Albie Melia  (EU Projects &amp; Communication Specialist)" userId="2d1a2eb5-dfb4-4d11-8423-60408b1fc395" providerId="ADAL" clId="{9564C84F-EEC9-4D0B-BE2E-5C2C7606A7F7}" dt="2024-07-03T11:55:25.705" v="653" actId="20577"/>
          <ac:spMkLst>
            <pc:docMk/>
            <pc:sldMk cId="1869586709" sldId="707"/>
            <ac:spMk id="4" creationId="{03217DE6-3467-0A26-1950-9C5913DF9B0A}"/>
          </ac:spMkLst>
        </pc:spChg>
        <pc:spChg chg="add">
          <ac:chgData name="Albie Melia  (EU Projects &amp; Communication Specialist)" userId="2d1a2eb5-dfb4-4d11-8423-60408b1fc395" providerId="ADAL" clId="{9564C84F-EEC9-4D0B-BE2E-5C2C7606A7F7}" dt="2024-07-03T11:53:07.926" v="632"/>
          <ac:spMkLst>
            <pc:docMk/>
            <pc:sldMk cId="1869586709" sldId="707"/>
            <ac:spMk id="5" creationId="{D155CB71-A430-A4D7-2E8C-9DE4DBD3FAAF}"/>
          </ac:spMkLst>
        </pc:spChg>
      </pc:sldChg>
      <pc:sldChg chg="modSp mod">
        <pc:chgData name="Albie Melia  (EU Projects &amp; Communication Specialist)" userId="2d1a2eb5-dfb4-4d11-8423-60408b1fc395" providerId="ADAL" clId="{9564C84F-EEC9-4D0B-BE2E-5C2C7606A7F7}" dt="2024-07-08T11:13:51.272" v="1575" actId="1076"/>
        <pc:sldMkLst>
          <pc:docMk/>
          <pc:sldMk cId="1172713376" sldId="708"/>
        </pc:sldMkLst>
        <pc:spChg chg="mod">
          <ac:chgData name="Albie Melia  (EU Projects &amp; Communication Specialist)" userId="2d1a2eb5-dfb4-4d11-8423-60408b1fc395" providerId="ADAL" clId="{9564C84F-EEC9-4D0B-BE2E-5C2C7606A7F7}" dt="2024-07-08T11:13:51.272" v="1575" actId="1076"/>
          <ac:spMkLst>
            <pc:docMk/>
            <pc:sldMk cId="1172713376" sldId="708"/>
            <ac:spMk id="3" creationId="{5ECD864F-12FC-444B-495D-A5E327843E5F}"/>
          </ac:spMkLst>
        </pc:spChg>
        <pc:spChg chg="mod">
          <ac:chgData name="Albie Melia  (EU Projects &amp; Communication Specialist)" userId="2d1a2eb5-dfb4-4d11-8423-60408b1fc395" providerId="ADAL" clId="{9564C84F-EEC9-4D0B-BE2E-5C2C7606A7F7}" dt="2024-07-08T11:13:41.263" v="1573" actId="1076"/>
          <ac:spMkLst>
            <pc:docMk/>
            <pc:sldMk cId="1172713376" sldId="708"/>
            <ac:spMk id="4" creationId="{03217DE6-3467-0A26-1950-9C5913DF9B0A}"/>
          </ac:spMkLst>
        </pc:spChg>
      </pc:sldChg>
      <pc:sldChg chg="modSp mod">
        <pc:chgData name="Albie Melia  (EU Projects &amp; Communication Specialist)" userId="2d1a2eb5-dfb4-4d11-8423-60408b1fc395" providerId="ADAL" clId="{9564C84F-EEC9-4D0B-BE2E-5C2C7606A7F7}" dt="2024-07-08T11:25:53.361" v="1585"/>
        <pc:sldMkLst>
          <pc:docMk/>
          <pc:sldMk cId="2503971304" sldId="709"/>
        </pc:sldMkLst>
        <pc:spChg chg="mod">
          <ac:chgData name="Albie Melia  (EU Projects &amp; Communication Specialist)" userId="2d1a2eb5-dfb4-4d11-8423-60408b1fc395" providerId="ADAL" clId="{9564C84F-EEC9-4D0B-BE2E-5C2C7606A7F7}" dt="2024-07-08T11:25:53.361" v="1585"/>
          <ac:spMkLst>
            <pc:docMk/>
            <pc:sldMk cId="2503971304" sldId="709"/>
            <ac:spMk id="3" creationId="{5ECD864F-12FC-444B-495D-A5E327843E5F}"/>
          </ac:spMkLst>
        </pc:spChg>
        <pc:spChg chg="mod">
          <ac:chgData name="Albie Melia  (EU Projects &amp; Communication Specialist)" userId="2d1a2eb5-dfb4-4d11-8423-60408b1fc395" providerId="ADAL" clId="{9564C84F-EEC9-4D0B-BE2E-5C2C7606A7F7}" dt="2024-07-08T11:25:41.331" v="1584" actId="20577"/>
          <ac:spMkLst>
            <pc:docMk/>
            <pc:sldMk cId="2503971304" sldId="709"/>
            <ac:spMk id="4" creationId="{03217DE6-3467-0A26-1950-9C5913DF9B0A}"/>
          </ac:spMkLst>
        </pc:spChg>
      </pc:sldChg>
      <pc:sldChg chg="modSp mod ord">
        <pc:chgData name="Albie Melia  (EU Projects &amp; Communication Specialist)" userId="2d1a2eb5-dfb4-4d11-8423-60408b1fc395" providerId="ADAL" clId="{9564C84F-EEC9-4D0B-BE2E-5C2C7606A7F7}" dt="2024-07-03T15:03:09.474" v="1211" actId="6549"/>
        <pc:sldMkLst>
          <pc:docMk/>
          <pc:sldMk cId="3501445452" sldId="712"/>
        </pc:sldMkLst>
        <pc:spChg chg="mod">
          <ac:chgData name="Albie Melia  (EU Projects &amp; Communication Specialist)" userId="2d1a2eb5-dfb4-4d11-8423-60408b1fc395" providerId="ADAL" clId="{9564C84F-EEC9-4D0B-BE2E-5C2C7606A7F7}" dt="2024-07-03T14:57:05.945" v="1163" actId="1076"/>
          <ac:spMkLst>
            <pc:docMk/>
            <pc:sldMk cId="3501445452" sldId="712"/>
            <ac:spMk id="8" creationId="{425817A8-4434-7A42-8FDC-D5DBA4F4E62B}"/>
          </ac:spMkLst>
        </pc:spChg>
        <pc:spChg chg="mod">
          <ac:chgData name="Albie Melia  (EU Projects &amp; Communication Specialist)" userId="2d1a2eb5-dfb4-4d11-8423-60408b1fc395" providerId="ADAL" clId="{9564C84F-EEC9-4D0B-BE2E-5C2C7606A7F7}" dt="2024-07-03T15:03:09.474" v="1211" actId="6549"/>
          <ac:spMkLst>
            <pc:docMk/>
            <pc:sldMk cId="3501445452" sldId="712"/>
            <ac:spMk id="10" creationId="{F8251304-71BA-DB4B-935B-6BA8C2444400}"/>
          </ac:spMkLst>
        </pc:spChg>
      </pc:sldChg>
      <pc:sldChg chg="modSp mod">
        <pc:chgData name="Albie Melia  (EU Projects &amp; Communication Specialist)" userId="2d1a2eb5-dfb4-4d11-8423-60408b1fc395" providerId="ADAL" clId="{9564C84F-EEC9-4D0B-BE2E-5C2C7606A7F7}" dt="2024-07-08T10:51:47.005" v="1367" actId="20577"/>
        <pc:sldMkLst>
          <pc:docMk/>
          <pc:sldMk cId="244975584" sldId="713"/>
        </pc:sldMkLst>
        <pc:spChg chg="mod">
          <ac:chgData name="Albie Melia  (EU Projects &amp; Communication Specialist)" userId="2d1a2eb5-dfb4-4d11-8423-60408b1fc395" providerId="ADAL" clId="{9564C84F-EEC9-4D0B-BE2E-5C2C7606A7F7}" dt="2024-07-08T10:51:47.005" v="1367" actId="20577"/>
          <ac:spMkLst>
            <pc:docMk/>
            <pc:sldMk cId="244975584" sldId="713"/>
            <ac:spMk id="3" creationId="{DA99C726-EEB8-A064-EA02-A4AF797D25D2}"/>
          </ac:spMkLst>
        </pc:spChg>
      </pc:sldChg>
      <pc:sldChg chg="modSp add del mod ord">
        <pc:chgData name="Albie Melia  (EU Projects &amp; Communication Specialist)" userId="2d1a2eb5-dfb4-4d11-8423-60408b1fc395" providerId="ADAL" clId="{9564C84F-EEC9-4D0B-BE2E-5C2C7606A7F7}" dt="2024-07-08T14:13:30.918" v="1893" actId="20577"/>
        <pc:sldMkLst>
          <pc:docMk/>
          <pc:sldMk cId="3373890468" sldId="714"/>
        </pc:sldMkLst>
        <pc:spChg chg="mod">
          <ac:chgData name="Albie Melia  (EU Projects &amp; Communication Specialist)" userId="2d1a2eb5-dfb4-4d11-8423-60408b1fc395" providerId="ADAL" clId="{9564C84F-EEC9-4D0B-BE2E-5C2C7606A7F7}" dt="2024-07-08T14:13:30.918" v="1893" actId="20577"/>
          <ac:spMkLst>
            <pc:docMk/>
            <pc:sldMk cId="3373890468" sldId="714"/>
            <ac:spMk id="3" creationId="{DA99C726-EEB8-A064-EA02-A4AF797D25D2}"/>
          </ac:spMkLst>
        </pc:spChg>
      </pc:sldChg>
      <pc:sldChg chg="modSp del mod">
        <pc:chgData name="Albie Melia  (EU Projects &amp; Communication Specialist)" userId="2d1a2eb5-dfb4-4d11-8423-60408b1fc395" providerId="ADAL" clId="{9564C84F-EEC9-4D0B-BE2E-5C2C7606A7F7}" dt="2024-07-08T14:13:41.261" v="1894" actId="47"/>
        <pc:sldMkLst>
          <pc:docMk/>
          <pc:sldMk cId="4284562720" sldId="715"/>
        </pc:sldMkLst>
        <pc:spChg chg="mod">
          <ac:chgData name="Albie Melia  (EU Projects &amp; Communication Specialist)" userId="2d1a2eb5-dfb4-4d11-8423-60408b1fc395" providerId="ADAL" clId="{9564C84F-EEC9-4D0B-BE2E-5C2C7606A7F7}" dt="2024-07-08T14:13:27.095" v="1890" actId="20577"/>
          <ac:spMkLst>
            <pc:docMk/>
            <pc:sldMk cId="4284562720" sldId="715"/>
            <ac:spMk id="3" creationId="{DA99C726-EEB8-A064-EA02-A4AF797D25D2}"/>
          </ac:spMkLst>
        </pc:spChg>
      </pc:sldChg>
      <pc:sldChg chg="modSp mod">
        <pc:chgData name="Albie Melia  (EU Projects &amp; Communication Specialist)" userId="2d1a2eb5-dfb4-4d11-8423-60408b1fc395" providerId="ADAL" clId="{9564C84F-EEC9-4D0B-BE2E-5C2C7606A7F7}" dt="2024-07-08T14:32:30.572" v="2123" actId="166"/>
        <pc:sldMkLst>
          <pc:docMk/>
          <pc:sldMk cId="1732367708" sldId="716"/>
        </pc:sldMkLst>
        <pc:spChg chg="mod">
          <ac:chgData name="Albie Melia  (EU Projects &amp; Communication Specialist)" userId="2d1a2eb5-dfb4-4d11-8423-60408b1fc395" providerId="ADAL" clId="{9564C84F-EEC9-4D0B-BE2E-5C2C7606A7F7}" dt="2024-07-08T14:32:09.354" v="2119" actId="120"/>
          <ac:spMkLst>
            <pc:docMk/>
            <pc:sldMk cId="1732367708" sldId="716"/>
            <ac:spMk id="8" creationId="{425817A8-4434-7A42-8FDC-D5DBA4F4E62B}"/>
          </ac:spMkLst>
        </pc:spChg>
        <pc:spChg chg="mod ord">
          <ac:chgData name="Albie Melia  (EU Projects &amp; Communication Specialist)" userId="2d1a2eb5-dfb4-4d11-8423-60408b1fc395" providerId="ADAL" clId="{9564C84F-EEC9-4D0B-BE2E-5C2C7606A7F7}" dt="2024-07-08T14:32:30.572" v="2123" actId="166"/>
          <ac:spMkLst>
            <pc:docMk/>
            <pc:sldMk cId="1732367708" sldId="716"/>
            <ac:spMk id="10" creationId="{F8251304-71BA-DB4B-935B-6BA8C2444400}"/>
          </ac:spMkLst>
        </pc:spChg>
      </pc:sldChg>
      <pc:sldChg chg="modSp mod ord">
        <pc:chgData name="Albie Melia  (EU Projects &amp; Communication Specialist)" userId="2d1a2eb5-dfb4-4d11-8423-60408b1fc395" providerId="ADAL" clId="{9564C84F-EEC9-4D0B-BE2E-5C2C7606A7F7}" dt="2024-07-03T11:49:36.476" v="556" actId="1076"/>
        <pc:sldMkLst>
          <pc:docMk/>
          <pc:sldMk cId="2406852878" sldId="717"/>
        </pc:sldMkLst>
        <pc:spChg chg="mod">
          <ac:chgData name="Albie Melia  (EU Projects &amp; Communication Specialist)" userId="2d1a2eb5-dfb4-4d11-8423-60408b1fc395" providerId="ADAL" clId="{9564C84F-EEC9-4D0B-BE2E-5C2C7606A7F7}" dt="2024-07-03T11:47:36.474" v="495" actId="6549"/>
          <ac:spMkLst>
            <pc:docMk/>
            <pc:sldMk cId="2406852878" sldId="717"/>
            <ac:spMk id="2" creationId="{8FA217D6-4AA2-CB4D-9D63-D41980307DD7}"/>
          </ac:spMkLst>
        </pc:spChg>
        <pc:spChg chg="mod">
          <ac:chgData name="Albie Melia  (EU Projects &amp; Communication Specialist)" userId="2d1a2eb5-dfb4-4d11-8423-60408b1fc395" providerId="ADAL" clId="{9564C84F-EEC9-4D0B-BE2E-5C2C7606A7F7}" dt="2024-07-03T11:49:36.476" v="556" actId="1076"/>
          <ac:spMkLst>
            <pc:docMk/>
            <pc:sldMk cId="2406852878" sldId="717"/>
            <ac:spMk id="3" creationId="{35AC186C-5DE3-6542-A610-70101C6B0F93}"/>
          </ac:spMkLst>
        </pc:spChg>
      </pc:sldChg>
      <pc:sldChg chg="delSp modSp mod">
        <pc:chgData name="Albie Melia  (EU Projects &amp; Communication Specialist)" userId="2d1a2eb5-dfb4-4d11-8423-60408b1fc395" providerId="ADAL" clId="{9564C84F-EEC9-4D0B-BE2E-5C2C7606A7F7}" dt="2024-07-08T14:35:26.503" v="2142" actId="478"/>
        <pc:sldMkLst>
          <pc:docMk/>
          <pc:sldMk cId="50382409" sldId="718"/>
        </pc:sldMkLst>
        <pc:spChg chg="mod">
          <ac:chgData name="Albie Melia  (EU Projects &amp; Communication Specialist)" userId="2d1a2eb5-dfb4-4d11-8423-60408b1fc395" providerId="ADAL" clId="{9564C84F-EEC9-4D0B-BE2E-5C2C7606A7F7}" dt="2024-07-08T14:32:46.569" v="2127" actId="20577"/>
          <ac:spMkLst>
            <pc:docMk/>
            <pc:sldMk cId="50382409" sldId="718"/>
            <ac:spMk id="8" creationId="{425817A8-4434-7A42-8FDC-D5DBA4F4E62B}"/>
          </ac:spMkLst>
        </pc:spChg>
        <pc:spChg chg="mod ord">
          <ac:chgData name="Albie Melia  (EU Projects &amp; Communication Specialist)" userId="2d1a2eb5-dfb4-4d11-8423-60408b1fc395" providerId="ADAL" clId="{9564C84F-EEC9-4D0B-BE2E-5C2C7606A7F7}" dt="2024-07-08T14:35:21.072" v="2141" actId="20577"/>
          <ac:spMkLst>
            <pc:docMk/>
            <pc:sldMk cId="50382409" sldId="718"/>
            <ac:spMk id="10" creationId="{F8251304-71BA-DB4B-935B-6BA8C2444400}"/>
          </ac:spMkLst>
        </pc:spChg>
        <pc:spChg chg="del">
          <ac:chgData name="Albie Melia  (EU Projects &amp; Communication Specialist)" userId="2d1a2eb5-dfb4-4d11-8423-60408b1fc395" providerId="ADAL" clId="{9564C84F-EEC9-4D0B-BE2E-5C2C7606A7F7}" dt="2024-07-08T14:35:26.503" v="2142" actId="478"/>
          <ac:spMkLst>
            <pc:docMk/>
            <pc:sldMk cId="50382409" sldId="718"/>
            <ac:spMk id="12" creationId="{5A16ABDA-3F84-2E4A-ACE6-166D1B9B231F}"/>
          </ac:spMkLst>
        </pc:spChg>
      </pc:sldChg>
      <pc:sldChg chg="modSp del mod">
        <pc:chgData name="Albie Melia  (EU Projects &amp; Communication Specialist)" userId="2d1a2eb5-dfb4-4d11-8423-60408b1fc395" providerId="ADAL" clId="{9564C84F-EEC9-4D0B-BE2E-5C2C7606A7F7}" dt="2024-07-08T14:35:51.024" v="2145" actId="47"/>
        <pc:sldMkLst>
          <pc:docMk/>
          <pc:sldMk cId="938239539" sldId="719"/>
        </pc:sldMkLst>
        <pc:spChg chg="mod">
          <ac:chgData name="Albie Melia  (EU Projects &amp; Communication Specialist)" userId="2d1a2eb5-dfb4-4d11-8423-60408b1fc395" providerId="ADAL" clId="{9564C84F-EEC9-4D0B-BE2E-5C2C7606A7F7}" dt="2024-07-08T14:35:46.193" v="2144"/>
          <ac:spMkLst>
            <pc:docMk/>
            <pc:sldMk cId="938239539" sldId="719"/>
            <ac:spMk id="10" creationId="{F8251304-71BA-DB4B-935B-6BA8C2444400}"/>
          </ac:spMkLst>
        </pc:spChg>
      </pc:sldChg>
      <pc:sldChg chg="del">
        <pc:chgData name="Albie Melia  (EU Projects &amp; Communication Specialist)" userId="2d1a2eb5-dfb4-4d11-8423-60408b1fc395" providerId="ADAL" clId="{9564C84F-EEC9-4D0B-BE2E-5C2C7606A7F7}" dt="2024-07-08T14:49:23.272" v="2211" actId="47"/>
        <pc:sldMkLst>
          <pc:docMk/>
          <pc:sldMk cId="3404896260" sldId="720"/>
        </pc:sldMkLst>
      </pc:sldChg>
      <pc:sldChg chg="modSp add del mod ord">
        <pc:chgData name="Albie Melia  (EU Projects &amp; Communication Specialist)" userId="2d1a2eb5-dfb4-4d11-8423-60408b1fc395" providerId="ADAL" clId="{9564C84F-EEC9-4D0B-BE2E-5C2C7606A7F7}" dt="2024-07-03T12:47:47.667" v="735" actId="47"/>
        <pc:sldMkLst>
          <pc:docMk/>
          <pc:sldMk cId="2156892601" sldId="721"/>
        </pc:sldMkLst>
        <pc:spChg chg="mod">
          <ac:chgData name="Albie Melia  (EU Projects &amp; Communication Specialist)" userId="2d1a2eb5-dfb4-4d11-8423-60408b1fc395" providerId="ADAL" clId="{9564C84F-EEC9-4D0B-BE2E-5C2C7606A7F7}" dt="2024-07-03T12:47:40.394" v="734"/>
          <ac:spMkLst>
            <pc:docMk/>
            <pc:sldMk cId="2156892601" sldId="721"/>
            <ac:spMk id="3" creationId="{61D8C235-EF9C-BCBF-4F8F-7F2CADA42260}"/>
          </ac:spMkLst>
        </pc:spChg>
      </pc:sldChg>
      <pc:sldChg chg="modSp add del mod ord">
        <pc:chgData name="Albie Melia  (EU Projects &amp; Communication Specialist)" userId="2d1a2eb5-dfb4-4d11-8423-60408b1fc395" providerId="ADAL" clId="{9564C84F-EEC9-4D0B-BE2E-5C2C7606A7F7}" dt="2024-07-03T11:22:48.858" v="152" actId="47"/>
        <pc:sldMkLst>
          <pc:docMk/>
          <pc:sldMk cId="2612623571" sldId="721"/>
        </pc:sldMkLst>
        <pc:spChg chg="mod">
          <ac:chgData name="Albie Melia  (EU Projects &amp; Communication Specialist)" userId="2d1a2eb5-dfb4-4d11-8423-60408b1fc395" providerId="ADAL" clId="{9564C84F-EEC9-4D0B-BE2E-5C2C7606A7F7}" dt="2024-07-03T11:17:22.051" v="148"/>
          <ac:spMkLst>
            <pc:docMk/>
            <pc:sldMk cId="2612623571" sldId="721"/>
            <ac:spMk id="3" creationId="{35AC186C-5DE3-6542-A610-70101C6B0F93}"/>
          </ac:spMkLst>
        </pc:spChg>
      </pc:sldChg>
      <pc:sldChg chg="addSp modSp add mod">
        <pc:chgData name="Albie Melia  (EU Projects &amp; Communication Specialist)" userId="2d1a2eb5-dfb4-4d11-8423-60408b1fc395" providerId="ADAL" clId="{9564C84F-EEC9-4D0B-BE2E-5C2C7606A7F7}" dt="2024-07-08T11:10:49.904" v="1489" actId="20577"/>
        <pc:sldMkLst>
          <pc:docMk/>
          <pc:sldMk cId="4178422126" sldId="722"/>
        </pc:sldMkLst>
        <pc:spChg chg="mod">
          <ac:chgData name="Albie Melia  (EU Projects &amp; Communication Specialist)" userId="2d1a2eb5-dfb4-4d11-8423-60408b1fc395" providerId="ADAL" clId="{9564C84F-EEC9-4D0B-BE2E-5C2C7606A7F7}" dt="2024-07-08T11:10:22.781" v="1478" actId="1076"/>
          <ac:spMkLst>
            <pc:docMk/>
            <pc:sldMk cId="4178422126" sldId="722"/>
            <ac:spMk id="3" creationId="{5ECD864F-12FC-444B-495D-A5E327843E5F}"/>
          </ac:spMkLst>
        </pc:spChg>
        <pc:spChg chg="mod">
          <ac:chgData name="Albie Melia  (EU Projects &amp; Communication Specialist)" userId="2d1a2eb5-dfb4-4d11-8423-60408b1fc395" providerId="ADAL" clId="{9564C84F-EEC9-4D0B-BE2E-5C2C7606A7F7}" dt="2024-07-08T11:10:49.904" v="1489" actId="20577"/>
          <ac:spMkLst>
            <pc:docMk/>
            <pc:sldMk cId="4178422126" sldId="722"/>
            <ac:spMk id="4" creationId="{03217DE6-3467-0A26-1950-9C5913DF9B0A}"/>
          </ac:spMkLst>
        </pc:spChg>
        <pc:spChg chg="add">
          <ac:chgData name="Albie Melia  (EU Projects &amp; Communication Specialist)" userId="2d1a2eb5-dfb4-4d11-8423-60408b1fc395" providerId="ADAL" clId="{9564C84F-EEC9-4D0B-BE2E-5C2C7606A7F7}" dt="2024-07-08T11:09:54.326" v="1468"/>
          <ac:spMkLst>
            <pc:docMk/>
            <pc:sldMk cId="4178422126" sldId="722"/>
            <ac:spMk id="5" creationId="{2AFFE2DC-4529-6817-813A-B43735B797E6}"/>
          </ac:spMkLst>
        </pc:spChg>
        <pc:spChg chg="add">
          <ac:chgData name="Albie Melia  (EU Projects &amp; Communication Specialist)" userId="2d1a2eb5-dfb4-4d11-8423-60408b1fc395" providerId="ADAL" clId="{9564C84F-EEC9-4D0B-BE2E-5C2C7606A7F7}" dt="2024-07-08T11:09:54.326" v="1468"/>
          <ac:spMkLst>
            <pc:docMk/>
            <pc:sldMk cId="4178422126" sldId="722"/>
            <ac:spMk id="6" creationId="{33C95916-C3FD-049B-F98C-3F2FC79960A1}"/>
          </ac:spMkLst>
        </pc:spChg>
        <pc:spChg chg="add">
          <ac:chgData name="Albie Melia  (EU Projects &amp; Communication Specialist)" userId="2d1a2eb5-dfb4-4d11-8423-60408b1fc395" providerId="ADAL" clId="{9564C84F-EEC9-4D0B-BE2E-5C2C7606A7F7}" dt="2024-07-08T11:09:54.326" v="1468"/>
          <ac:spMkLst>
            <pc:docMk/>
            <pc:sldMk cId="4178422126" sldId="722"/>
            <ac:spMk id="7" creationId="{E9151350-147B-DB7E-A34F-5687D4B20B7D}"/>
          </ac:spMkLst>
        </pc:spChg>
      </pc:sldChg>
      <pc:sldChg chg="addSp modSp new mod">
        <pc:chgData name="Albie Melia  (EU Projects &amp; Communication Specialist)" userId="2d1a2eb5-dfb4-4d11-8423-60408b1fc395" providerId="ADAL" clId="{9564C84F-EEC9-4D0B-BE2E-5C2C7606A7F7}" dt="2024-07-03T11:39:08.867" v="413" actId="1076"/>
        <pc:sldMkLst>
          <pc:docMk/>
          <pc:sldMk cId="590687810" sldId="723"/>
        </pc:sldMkLst>
        <pc:spChg chg="mod">
          <ac:chgData name="Albie Melia  (EU Projects &amp; Communication Specialist)" userId="2d1a2eb5-dfb4-4d11-8423-60408b1fc395" providerId="ADAL" clId="{9564C84F-EEC9-4D0B-BE2E-5C2C7606A7F7}" dt="2024-07-03T11:37:21.245" v="355" actId="1076"/>
          <ac:spMkLst>
            <pc:docMk/>
            <pc:sldMk cId="590687810" sldId="723"/>
            <ac:spMk id="3" creationId="{D5F5E275-1DCE-CC12-3274-548A706F670E}"/>
          </ac:spMkLst>
        </pc:spChg>
        <pc:spChg chg="mod">
          <ac:chgData name="Albie Melia  (EU Projects &amp; Communication Specialist)" userId="2d1a2eb5-dfb4-4d11-8423-60408b1fc395" providerId="ADAL" clId="{9564C84F-EEC9-4D0B-BE2E-5C2C7606A7F7}" dt="2024-07-03T11:39:08.867" v="413" actId="1076"/>
          <ac:spMkLst>
            <pc:docMk/>
            <pc:sldMk cId="590687810" sldId="723"/>
            <ac:spMk id="4" creationId="{6A125868-F749-73BA-7AEF-6869E1972CE9}"/>
          </ac:spMkLst>
        </pc:spChg>
        <pc:spChg chg="add">
          <ac:chgData name="Albie Melia  (EU Projects &amp; Communication Specialist)" userId="2d1a2eb5-dfb4-4d11-8423-60408b1fc395" providerId="ADAL" clId="{9564C84F-EEC9-4D0B-BE2E-5C2C7606A7F7}" dt="2024-07-03T11:35:57.555" v="255"/>
          <ac:spMkLst>
            <pc:docMk/>
            <pc:sldMk cId="590687810" sldId="723"/>
            <ac:spMk id="5" creationId="{FBA0A17A-BE42-30EA-183B-85E6E9F14B26}"/>
          </ac:spMkLst>
        </pc:spChg>
      </pc:sldChg>
      <pc:sldChg chg="modSp add mod">
        <pc:chgData name="Albie Melia  (EU Projects &amp; Communication Specialist)" userId="2d1a2eb5-dfb4-4d11-8423-60408b1fc395" providerId="ADAL" clId="{9564C84F-EEC9-4D0B-BE2E-5C2C7606A7F7}" dt="2024-07-08T14:27:28.335" v="2109" actId="20577"/>
        <pc:sldMkLst>
          <pc:docMk/>
          <pc:sldMk cId="1104820275" sldId="724"/>
        </pc:sldMkLst>
        <pc:spChg chg="mod">
          <ac:chgData name="Albie Melia  (EU Projects &amp; Communication Specialist)" userId="2d1a2eb5-dfb4-4d11-8423-60408b1fc395" providerId="ADAL" clId="{9564C84F-EEC9-4D0B-BE2E-5C2C7606A7F7}" dt="2024-07-08T14:26:47.902" v="2094" actId="20577"/>
          <ac:spMkLst>
            <pc:docMk/>
            <pc:sldMk cId="1104820275" sldId="724"/>
            <ac:spMk id="2" creationId="{8FA217D6-4AA2-CB4D-9D63-D41980307DD7}"/>
          </ac:spMkLst>
        </pc:spChg>
        <pc:spChg chg="mod">
          <ac:chgData name="Albie Melia  (EU Projects &amp; Communication Specialist)" userId="2d1a2eb5-dfb4-4d11-8423-60408b1fc395" providerId="ADAL" clId="{9564C84F-EEC9-4D0B-BE2E-5C2C7606A7F7}" dt="2024-07-08T14:27:28.335" v="2109" actId="20577"/>
          <ac:spMkLst>
            <pc:docMk/>
            <pc:sldMk cId="1104820275" sldId="724"/>
            <ac:spMk id="3" creationId="{35AC186C-5DE3-6542-A610-70101C6B0F93}"/>
          </ac:spMkLst>
        </pc:spChg>
      </pc:sldChg>
      <pc:sldChg chg="modSp add mod">
        <pc:chgData name="Albie Melia  (EU Projects &amp; Communication Specialist)" userId="2d1a2eb5-dfb4-4d11-8423-60408b1fc395" providerId="ADAL" clId="{9564C84F-EEC9-4D0B-BE2E-5C2C7606A7F7}" dt="2024-07-03T11:49:39.416" v="557" actId="1076"/>
        <pc:sldMkLst>
          <pc:docMk/>
          <pc:sldMk cId="3012266279" sldId="725"/>
        </pc:sldMkLst>
        <pc:spChg chg="mod">
          <ac:chgData name="Albie Melia  (EU Projects &amp; Communication Specialist)" userId="2d1a2eb5-dfb4-4d11-8423-60408b1fc395" providerId="ADAL" clId="{9564C84F-EEC9-4D0B-BE2E-5C2C7606A7F7}" dt="2024-07-03T11:49:39.416" v="557" actId="1076"/>
          <ac:spMkLst>
            <pc:docMk/>
            <pc:sldMk cId="3012266279" sldId="725"/>
            <ac:spMk id="3" creationId="{35AC186C-5DE3-6542-A610-70101C6B0F93}"/>
          </ac:spMkLst>
        </pc:spChg>
      </pc:sldChg>
      <pc:sldChg chg="modSp add mod">
        <pc:chgData name="Albie Melia  (EU Projects &amp; Communication Specialist)" userId="2d1a2eb5-dfb4-4d11-8423-60408b1fc395" providerId="ADAL" clId="{9564C84F-EEC9-4D0B-BE2E-5C2C7606A7F7}" dt="2024-07-03T11:50:29.326" v="606" actId="1076"/>
        <pc:sldMkLst>
          <pc:docMk/>
          <pc:sldMk cId="2631279573" sldId="726"/>
        </pc:sldMkLst>
        <pc:spChg chg="mod">
          <ac:chgData name="Albie Melia  (EU Projects &amp; Communication Specialist)" userId="2d1a2eb5-dfb4-4d11-8423-60408b1fc395" providerId="ADAL" clId="{9564C84F-EEC9-4D0B-BE2E-5C2C7606A7F7}" dt="2024-07-03T11:50:24.683" v="605"/>
          <ac:spMkLst>
            <pc:docMk/>
            <pc:sldMk cId="2631279573" sldId="726"/>
            <ac:spMk id="2" creationId="{8FA217D6-4AA2-CB4D-9D63-D41980307DD7}"/>
          </ac:spMkLst>
        </pc:spChg>
        <pc:spChg chg="mod">
          <ac:chgData name="Albie Melia  (EU Projects &amp; Communication Specialist)" userId="2d1a2eb5-dfb4-4d11-8423-60408b1fc395" providerId="ADAL" clId="{9564C84F-EEC9-4D0B-BE2E-5C2C7606A7F7}" dt="2024-07-03T11:50:29.326" v="606" actId="1076"/>
          <ac:spMkLst>
            <pc:docMk/>
            <pc:sldMk cId="2631279573" sldId="726"/>
            <ac:spMk id="3" creationId="{35AC186C-5DE3-6542-A610-70101C6B0F93}"/>
          </ac:spMkLst>
        </pc:spChg>
      </pc:sldChg>
      <pc:sldChg chg="modSp new mod">
        <pc:chgData name="Albie Melia  (EU Projects &amp; Communication Specialist)" userId="2d1a2eb5-dfb4-4d11-8423-60408b1fc395" providerId="ADAL" clId="{9564C84F-EEC9-4D0B-BE2E-5C2C7606A7F7}" dt="2024-07-03T12:06:46.247" v="724" actId="20577"/>
        <pc:sldMkLst>
          <pc:docMk/>
          <pc:sldMk cId="1130782844" sldId="727"/>
        </pc:sldMkLst>
        <pc:spChg chg="mod">
          <ac:chgData name="Albie Melia  (EU Projects &amp; Communication Specialist)" userId="2d1a2eb5-dfb4-4d11-8423-60408b1fc395" providerId="ADAL" clId="{9564C84F-EEC9-4D0B-BE2E-5C2C7606A7F7}" dt="2024-07-03T12:05:49.184" v="666" actId="20577"/>
          <ac:spMkLst>
            <pc:docMk/>
            <pc:sldMk cId="1130782844" sldId="727"/>
            <ac:spMk id="3" creationId="{19F0A573-4FCC-AB89-C3C0-7549715958A3}"/>
          </ac:spMkLst>
        </pc:spChg>
        <pc:spChg chg="mod">
          <ac:chgData name="Albie Melia  (EU Projects &amp; Communication Specialist)" userId="2d1a2eb5-dfb4-4d11-8423-60408b1fc395" providerId="ADAL" clId="{9564C84F-EEC9-4D0B-BE2E-5C2C7606A7F7}" dt="2024-07-03T12:06:46.247" v="724" actId="20577"/>
          <ac:spMkLst>
            <pc:docMk/>
            <pc:sldMk cId="1130782844" sldId="727"/>
            <ac:spMk id="4" creationId="{3E39D10D-9E7B-9E23-EFA4-5AF15B5B356E}"/>
          </ac:spMkLst>
        </pc:spChg>
      </pc:sldChg>
      <pc:sldChg chg="modSp add mod">
        <pc:chgData name="Albie Melia  (EU Projects &amp; Communication Specialist)" userId="2d1a2eb5-dfb4-4d11-8423-60408b1fc395" providerId="ADAL" clId="{9564C84F-EEC9-4D0B-BE2E-5C2C7606A7F7}" dt="2024-07-03T12:50:04.957" v="832" actId="20577"/>
        <pc:sldMkLst>
          <pc:docMk/>
          <pc:sldMk cId="2029673924" sldId="728"/>
        </pc:sldMkLst>
        <pc:spChg chg="mod">
          <ac:chgData name="Albie Melia  (EU Projects &amp; Communication Specialist)" userId="2d1a2eb5-dfb4-4d11-8423-60408b1fc395" providerId="ADAL" clId="{9564C84F-EEC9-4D0B-BE2E-5C2C7606A7F7}" dt="2024-07-03T12:49:49.554" v="822" actId="20577"/>
          <ac:spMkLst>
            <pc:docMk/>
            <pc:sldMk cId="2029673924" sldId="728"/>
            <ac:spMk id="8" creationId="{425817A8-4434-7A42-8FDC-D5DBA4F4E62B}"/>
          </ac:spMkLst>
        </pc:spChg>
        <pc:spChg chg="mod">
          <ac:chgData name="Albie Melia  (EU Projects &amp; Communication Specialist)" userId="2d1a2eb5-dfb4-4d11-8423-60408b1fc395" providerId="ADAL" clId="{9564C84F-EEC9-4D0B-BE2E-5C2C7606A7F7}" dt="2024-07-03T12:50:04.957" v="832" actId="20577"/>
          <ac:spMkLst>
            <pc:docMk/>
            <pc:sldMk cId="2029673924" sldId="728"/>
            <ac:spMk id="10" creationId="{F8251304-71BA-DB4B-935B-6BA8C2444400}"/>
          </ac:spMkLst>
        </pc:spChg>
      </pc:sldChg>
      <pc:sldChg chg="modSp new mod">
        <pc:chgData name="Albie Melia  (EU Projects &amp; Communication Specialist)" userId="2d1a2eb5-dfb4-4d11-8423-60408b1fc395" providerId="ADAL" clId="{9564C84F-EEC9-4D0B-BE2E-5C2C7606A7F7}" dt="2024-07-03T12:51:32.934" v="853" actId="6549"/>
        <pc:sldMkLst>
          <pc:docMk/>
          <pc:sldMk cId="4014990001" sldId="729"/>
        </pc:sldMkLst>
        <pc:spChg chg="mod">
          <ac:chgData name="Albie Melia  (EU Projects &amp; Communication Specialist)" userId="2d1a2eb5-dfb4-4d11-8423-60408b1fc395" providerId="ADAL" clId="{9564C84F-EEC9-4D0B-BE2E-5C2C7606A7F7}" dt="2024-07-03T12:51:18.633" v="851" actId="1076"/>
          <ac:spMkLst>
            <pc:docMk/>
            <pc:sldMk cId="4014990001" sldId="729"/>
            <ac:spMk id="2" creationId="{1F066FBD-3576-5CFA-87B6-D1077F6AA6F8}"/>
          </ac:spMkLst>
        </pc:spChg>
        <pc:spChg chg="mod">
          <ac:chgData name="Albie Melia  (EU Projects &amp; Communication Specialist)" userId="2d1a2eb5-dfb4-4d11-8423-60408b1fc395" providerId="ADAL" clId="{9564C84F-EEC9-4D0B-BE2E-5C2C7606A7F7}" dt="2024-07-03T12:51:32.934" v="853" actId="6549"/>
          <ac:spMkLst>
            <pc:docMk/>
            <pc:sldMk cId="4014990001" sldId="729"/>
            <ac:spMk id="3" creationId="{F95A7C72-2C9E-7750-AE07-9EE4DE4A1D8C}"/>
          </ac:spMkLst>
        </pc:spChg>
      </pc:sldChg>
      <pc:sldChg chg="modSp new mod">
        <pc:chgData name="Albie Melia  (EU Projects &amp; Communication Specialist)" userId="2d1a2eb5-dfb4-4d11-8423-60408b1fc395" providerId="ADAL" clId="{9564C84F-EEC9-4D0B-BE2E-5C2C7606A7F7}" dt="2024-07-03T12:53:52.889" v="896" actId="20577"/>
        <pc:sldMkLst>
          <pc:docMk/>
          <pc:sldMk cId="3128281928" sldId="730"/>
        </pc:sldMkLst>
        <pc:spChg chg="mod">
          <ac:chgData name="Albie Melia  (EU Projects &amp; Communication Specialist)" userId="2d1a2eb5-dfb4-4d11-8423-60408b1fc395" providerId="ADAL" clId="{9564C84F-EEC9-4D0B-BE2E-5C2C7606A7F7}" dt="2024-07-03T12:52:52.346" v="862" actId="14100"/>
          <ac:spMkLst>
            <pc:docMk/>
            <pc:sldMk cId="3128281928" sldId="730"/>
            <ac:spMk id="2" creationId="{2E270E92-3AFF-A72B-09E8-8CE2D0A4392D}"/>
          </ac:spMkLst>
        </pc:spChg>
        <pc:spChg chg="mod">
          <ac:chgData name="Albie Melia  (EU Projects &amp; Communication Specialist)" userId="2d1a2eb5-dfb4-4d11-8423-60408b1fc395" providerId="ADAL" clId="{9564C84F-EEC9-4D0B-BE2E-5C2C7606A7F7}" dt="2024-07-03T12:53:00.687" v="866" actId="20577"/>
          <ac:spMkLst>
            <pc:docMk/>
            <pc:sldMk cId="3128281928" sldId="730"/>
            <ac:spMk id="3" creationId="{6CE5792B-C612-C36D-02AB-702F145C0478}"/>
          </ac:spMkLst>
        </pc:spChg>
        <pc:spChg chg="mod">
          <ac:chgData name="Albie Melia  (EU Projects &amp; Communication Specialist)" userId="2d1a2eb5-dfb4-4d11-8423-60408b1fc395" providerId="ADAL" clId="{9564C84F-EEC9-4D0B-BE2E-5C2C7606A7F7}" dt="2024-07-03T12:53:20.293" v="871" actId="20577"/>
          <ac:spMkLst>
            <pc:docMk/>
            <pc:sldMk cId="3128281928" sldId="730"/>
            <ac:spMk id="4" creationId="{CB72171A-6BEA-7DB4-ED65-73E34AED83D0}"/>
          </ac:spMkLst>
        </pc:spChg>
        <pc:spChg chg="mod">
          <ac:chgData name="Albie Melia  (EU Projects &amp; Communication Specialist)" userId="2d1a2eb5-dfb4-4d11-8423-60408b1fc395" providerId="ADAL" clId="{9564C84F-EEC9-4D0B-BE2E-5C2C7606A7F7}" dt="2024-07-03T12:53:31.134" v="889" actId="20577"/>
          <ac:spMkLst>
            <pc:docMk/>
            <pc:sldMk cId="3128281928" sldId="730"/>
            <ac:spMk id="5" creationId="{E7F130F1-AFA1-7184-442C-FCFC417F7375}"/>
          </ac:spMkLst>
        </pc:spChg>
        <pc:spChg chg="mod">
          <ac:chgData name="Albie Melia  (EU Projects &amp; Communication Specialist)" userId="2d1a2eb5-dfb4-4d11-8423-60408b1fc395" providerId="ADAL" clId="{9564C84F-EEC9-4D0B-BE2E-5C2C7606A7F7}" dt="2024-07-03T12:53:48.225" v="894" actId="20577"/>
          <ac:spMkLst>
            <pc:docMk/>
            <pc:sldMk cId="3128281928" sldId="730"/>
            <ac:spMk id="6" creationId="{87F9A46B-9921-1114-7803-7713611DD46A}"/>
          </ac:spMkLst>
        </pc:spChg>
        <pc:spChg chg="mod">
          <ac:chgData name="Albie Melia  (EU Projects &amp; Communication Specialist)" userId="2d1a2eb5-dfb4-4d11-8423-60408b1fc395" providerId="ADAL" clId="{9564C84F-EEC9-4D0B-BE2E-5C2C7606A7F7}" dt="2024-07-03T12:53:52.889" v="896" actId="20577"/>
          <ac:spMkLst>
            <pc:docMk/>
            <pc:sldMk cId="3128281928" sldId="730"/>
            <ac:spMk id="7" creationId="{3AD6096D-9A22-8EF3-DEF4-1DC153C19F62}"/>
          </ac:spMkLst>
        </pc:spChg>
      </pc:sldChg>
      <pc:sldChg chg="new del">
        <pc:chgData name="Albie Melia  (EU Projects &amp; Communication Specialist)" userId="2d1a2eb5-dfb4-4d11-8423-60408b1fc395" providerId="ADAL" clId="{9564C84F-EEC9-4D0B-BE2E-5C2C7606A7F7}" dt="2024-07-03T12:52:13.307" v="855" actId="47"/>
        <pc:sldMkLst>
          <pc:docMk/>
          <pc:sldMk cId="4252036416" sldId="730"/>
        </pc:sldMkLst>
      </pc:sldChg>
      <pc:sldChg chg="modSp new mod">
        <pc:chgData name="Albie Melia  (EU Projects &amp; Communication Specialist)" userId="2d1a2eb5-dfb4-4d11-8423-60408b1fc395" providerId="ADAL" clId="{9564C84F-EEC9-4D0B-BE2E-5C2C7606A7F7}" dt="2024-07-03T12:56:27.473" v="914" actId="14100"/>
        <pc:sldMkLst>
          <pc:docMk/>
          <pc:sldMk cId="1378179757" sldId="731"/>
        </pc:sldMkLst>
        <pc:spChg chg="mod">
          <ac:chgData name="Albie Melia  (EU Projects &amp; Communication Specialist)" userId="2d1a2eb5-dfb4-4d11-8423-60408b1fc395" providerId="ADAL" clId="{9564C84F-EEC9-4D0B-BE2E-5C2C7606A7F7}" dt="2024-07-03T12:56:27.473" v="914" actId="14100"/>
          <ac:spMkLst>
            <pc:docMk/>
            <pc:sldMk cId="1378179757" sldId="731"/>
            <ac:spMk id="3" creationId="{01D7C748-CFC1-DE16-E9C1-94D1565A42BC}"/>
          </ac:spMkLst>
        </pc:spChg>
        <pc:spChg chg="mod">
          <ac:chgData name="Albie Melia  (EU Projects &amp; Communication Specialist)" userId="2d1a2eb5-dfb4-4d11-8423-60408b1fc395" providerId="ADAL" clId="{9564C84F-EEC9-4D0B-BE2E-5C2C7606A7F7}" dt="2024-07-03T12:55:12.154" v="911" actId="1076"/>
          <ac:spMkLst>
            <pc:docMk/>
            <pc:sldMk cId="1378179757" sldId="731"/>
            <ac:spMk id="4" creationId="{8C861204-DB62-8532-C3A1-5170CB1DE0A8}"/>
          </ac:spMkLst>
        </pc:spChg>
      </pc:sldChg>
      <pc:sldChg chg="modSp add mod ord">
        <pc:chgData name="Albie Melia  (EU Projects &amp; Communication Specialist)" userId="2d1a2eb5-dfb4-4d11-8423-60408b1fc395" providerId="ADAL" clId="{9564C84F-EEC9-4D0B-BE2E-5C2C7606A7F7}" dt="2024-07-03T14:14:20.630" v="955" actId="20577"/>
        <pc:sldMkLst>
          <pc:docMk/>
          <pc:sldMk cId="461780236" sldId="732"/>
        </pc:sldMkLst>
        <pc:spChg chg="mod">
          <ac:chgData name="Albie Melia  (EU Projects &amp; Communication Specialist)" userId="2d1a2eb5-dfb4-4d11-8423-60408b1fc395" providerId="ADAL" clId="{9564C84F-EEC9-4D0B-BE2E-5C2C7606A7F7}" dt="2024-07-03T14:14:20.630" v="955" actId="20577"/>
          <ac:spMkLst>
            <pc:docMk/>
            <pc:sldMk cId="461780236" sldId="732"/>
            <ac:spMk id="4" creationId="{6A125868-F749-73BA-7AEF-6869E1972CE9}"/>
          </ac:spMkLst>
        </pc:spChg>
      </pc:sldChg>
      <pc:sldChg chg="modSp add mod ord">
        <pc:chgData name="Albie Melia  (EU Projects &amp; Communication Specialist)" userId="2d1a2eb5-dfb4-4d11-8423-60408b1fc395" providerId="ADAL" clId="{9564C84F-EEC9-4D0B-BE2E-5C2C7606A7F7}" dt="2024-07-03T15:20:17.800" v="1326"/>
        <pc:sldMkLst>
          <pc:docMk/>
          <pc:sldMk cId="644867573" sldId="733"/>
        </pc:sldMkLst>
        <pc:spChg chg="mod">
          <ac:chgData name="Albie Melia  (EU Projects &amp; Communication Specialist)" userId="2d1a2eb5-dfb4-4d11-8423-60408b1fc395" providerId="ADAL" clId="{9564C84F-EEC9-4D0B-BE2E-5C2C7606A7F7}" dt="2024-07-03T14:19:25.533" v="999" actId="20577"/>
          <ac:spMkLst>
            <pc:docMk/>
            <pc:sldMk cId="644867573" sldId="733"/>
            <ac:spMk id="2" creationId="{8FA217D6-4AA2-CB4D-9D63-D41980307DD7}"/>
          </ac:spMkLst>
        </pc:spChg>
        <pc:spChg chg="mod">
          <ac:chgData name="Albie Melia  (EU Projects &amp; Communication Specialist)" userId="2d1a2eb5-dfb4-4d11-8423-60408b1fc395" providerId="ADAL" clId="{9564C84F-EEC9-4D0B-BE2E-5C2C7606A7F7}" dt="2024-07-03T15:20:17.800" v="1326"/>
          <ac:spMkLst>
            <pc:docMk/>
            <pc:sldMk cId="644867573" sldId="733"/>
            <ac:spMk id="3" creationId="{35AC186C-5DE3-6542-A610-70101C6B0F93}"/>
          </ac:spMkLst>
        </pc:spChg>
      </pc:sldChg>
      <pc:sldChg chg="addSp add del ord">
        <pc:chgData name="Albie Melia  (EU Projects &amp; Communication Specialist)" userId="2d1a2eb5-dfb4-4d11-8423-60408b1fc395" providerId="ADAL" clId="{9564C84F-EEC9-4D0B-BE2E-5C2C7606A7F7}" dt="2024-07-03T14:17:31.332" v="962" actId="2890"/>
        <pc:sldMkLst>
          <pc:docMk/>
          <pc:sldMk cId="1785740619" sldId="733"/>
        </pc:sldMkLst>
        <pc:spChg chg="add">
          <ac:chgData name="Albie Melia  (EU Projects &amp; Communication Specialist)" userId="2d1a2eb5-dfb4-4d11-8423-60408b1fc395" providerId="ADAL" clId="{9564C84F-EEC9-4D0B-BE2E-5C2C7606A7F7}" dt="2024-07-03T14:17:25.333" v="959"/>
          <ac:spMkLst>
            <pc:docMk/>
            <pc:sldMk cId="1785740619" sldId="733"/>
            <ac:spMk id="4" creationId="{1338CE85-163E-50A1-D239-1CB7D628BE67}"/>
          </ac:spMkLst>
        </pc:spChg>
        <pc:spChg chg="add">
          <ac:chgData name="Albie Melia  (EU Projects &amp; Communication Specialist)" userId="2d1a2eb5-dfb4-4d11-8423-60408b1fc395" providerId="ADAL" clId="{9564C84F-EEC9-4D0B-BE2E-5C2C7606A7F7}" dt="2024-07-03T14:17:27.973" v="960"/>
          <ac:spMkLst>
            <pc:docMk/>
            <pc:sldMk cId="1785740619" sldId="733"/>
            <ac:spMk id="5" creationId="{89DE773C-D879-B7AE-F3B9-1E0A092EF675}"/>
          </ac:spMkLst>
        </pc:spChg>
      </pc:sldChg>
      <pc:sldChg chg="addSp modSp add mod ord">
        <pc:chgData name="Albie Melia  (EU Projects &amp; Communication Specialist)" userId="2d1a2eb5-dfb4-4d11-8423-60408b1fc395" providerId="ADAL" clId="{9564C84F-EEC9-4D0B-BE2E-5C2C7606A7F7}" dt="2024-07-03T14:28:00.779" v="1073" actId="20577"/>
        <pc:sldMkLst>
          <pc:docMk/>
          <pc:sldMk cId="3195279420" sldId="734"/>
        </pc:sldMkLst>
        <pc:spChg chg="mod">
          <ac:chgData name="Albie Melia  (EU Projects &amp; Communication Specialist)" userId="2d1a2eb5-dfb4-4d11-8423-60408b1fc395" providerId="ADAL" clId="{9564C84F-EEC9-4D0B-BE2E-5C2C7606A7F7}" dt="2024-07-03T14:28:00.779" v="1073" actId="20577"/>
          <ac:spMkLst>
            <pc:docMk/>
            <pc:sldMk cId="3195279420" sldId="734"/>
            <ac:spMk id="4" creationId="{03217DE6-3467-0A26-1950-9C5913DF9B0A}"/>
          </ac:spMkLst>
        </pc:spChg>
        <pc:spChg chg="add">
          <ac:chgData name="Albie Melia  (EU Projects &amp; Communication Specialist)" userId="2d1a2eb5-dfb4-4d11-8423-60408b1fc395" providerId="ADAL" clId="{9564C84F-EEC9-4D0B-BE2E-5C2C7606A7F7}" dt="2024-07-03T14:21:30.625" v="1009"/>
          <ac:spMkLst>
            <pc:docMk/>
            <pc:sldMk cId="3195279420" sldId="734"/>
            <ac:spMk id="5" creationId="{F1C4E5B0-EF92-4A95-1352-2F4A9F9579F7}"/>
          </ac:spMkLst>
        </pc:spChg>
        <pc:spChg chg="add">
          <ac:chgData name="Albie Melia  (EU Projects &amp; Communication Specialist)" userId="2d1a2eb5-dfb4-4d11-8423-60408b1fc395" providerId="ADAL" clId="{9564C84F-EEC9-4D0B-BE2E-5C2C7606A7F7}" dt="2024-07-03T14:21:40.803" v="1013"/>
          <ac:spMkLst>
            <pc:docMk/>
            <pc:sldMk cId="3195279420" sldId="734"/>
            <ac:spMk id="6" creationId="{E59FC399-76AA-7C99-2218-600A8A3E3C7B}"/>
          </ac:spMkLst>
        </pc:spChg>
        <pc:spChg chg="add">
          <ac:chgData name="Albie Melia  (EU Projects &amp; Communication Specialist)" userId="2d1a2eb5-dfb4-4d11-8423-60408b1fc395" providerId="ADAL" clId="{9564C84F-EEC9-4D0B-BE2E-5C2C7606A7F7}" dt="2024-07-03T14:21:45.166" v="1014"/>
          <ac:spMkLst>
            <pc:docMk/>
            <pc:sldMk cId="3195279420" sldId="734"/>
            <ac:spMk id="7" creationId="{8E941C10-E464-E2EF-8635-FAC6911C47C8}"/>
          </ac:spMkLst>
        </pc:spChg>
        <pc:spChg chg="add">
          <ac:chgData name="Albie Melia  (EU Projects &amp; Communication Specialist)" userId="2d1a2eb5-dfb4-4d11-8423-60408b1fc395" providerId="ADAL" clId="{9564C84F-EEC9-4D0B-BE2E-5C2C7606A7F7}" dt="2024-07-03T14:21:47.580" v="1015"/>
          <ac:spMkLst>
            <pc:docMk/>
            <pc:sldMk cId="3195279420" sldId="734"/>
            <ac:spMk id="8" creationId="{1334576B-3AA1-D2BF-A0BA-B5D3EDDA9444}"/>
          </ac:spMkLst>
        </pc:spChg>
      </pc:sldChg>
      <pc:sldChg chg="modSp add mod ord">
        <pc:chgData name="Albie Melia  (EU Projects &amp; Communication Specialist)" userId="2d1a2eb5-dfb4-4d11-8423-60408b1fc395" providerId="ADAL" clId="{9564C84F-EEC9-4D0B-BE2E-5C2C7606A7F7}" dt="2024-07-03T14:48:06.084" v="1098" actId="20577"/>
        <pc:sldMkLst>
          <pc:docMk/>
          <pc:sldMk cId="753347592" sldId="735"/>
        </pc:sldMkLst>
        <pc:spChg chg="mod">
          <ac:chgData name="Albie Melia  (EU Projects &amp; Communication Specialist)" userId="2d1a2eb5-dfb4-4d11-8423-60408b1fc395" providerId="ADAL" clId="{9564C84F-EEC9-4D0B-BE2E-5C2C7606A7F7}" dt="2024-07-03T14:48:06.084" v="1098" actId="20577"/>
          <ac:spMkLst>
            <pc:docMk/>
            <pc:sldMk cId="753347592" sldId="735"/>
            <ac:spMk id="4" creationId="{3E39D10D-9E7B-9E23-EFA4-5AF15B5B356E}"/>
          </ac:spMkLst>
        </pc:spChg>
      </pc:sldChg>
      <pc:sldChg chg="modSp add mod ord">
        <pc:chgData name="Albie Melia  (EU Projects &amp; Communication Specialist)" userId="2d1a2eb5-dfb4-4d11-8423-60408b1fc395" providerId="ADAL" clId="{9564C84F-EEC9-4D0B-BE2E-5C2C7606A7F7}" dt="2024-07-03T14:50:52.536" v="1132" actId="123"/>
        <pc:sldMkLst>
          <pc:docMk/>
          <pc:sldMk cId="2617182348" sldId="736"/>
        </pc:sldMkLst>
        <pc:spChg chg="mod">
          <ac:chgData name="Albie Melia  (EU Projects &amp; Communication Specialist)" userId="2d1a2eb5-dfb4-4d11-8423-60408b1fc395" providerId="ADAL" clId="{9564C84F-EEC9-4D0B-BE2E-5C2C7606A7F7}" dt="2024-07-03T14:50:15.831" v="1124"/>
          <ac:spMkLst>
            <pc:docMk/>
            <pc:sldMk cId="2617182348" sldId="736"/>
            <ac:spMk id="2" creationId="{2E270E92-3AFF-A72B-09E8-8CE2D0A4392D}"/>
          </ac:spMkLst>
        </pc:spChg>
        <pc:spChg chg="mod">
          <ac:chgData name="Albie Melia  (EU Projects &amp; Communication Specialist)" userId="2d1a2eb5-dfb4-4d11-8423-60408b1fc395" providerId="ADAL" clId="{9564C84F-EEC9-4D0B-BE2E-5C2C7606A7F7}" dt="2024-07-03T14:49:56.270" v="1121"/>
          <ac:spMkLst>
            <pc:docMk/>
            <pc:sldMk cId="2617182348" sldId="736"/>
            <ac:spMk id="3" creationId="{6CE5792B-C612-C36D-02AB-702F145C0478}"/>
          </ac:spMkLst>
        </pc:spChg>
        <pc:spChg chg="mod">
          <ac:chgData name="Albie Melia  (EU Projects &amp; Communication Specialist)" userId="2d1a2eb5-dfb4-4d11-8423-60408b1fc395" providerId="ADAL" clId="{9564C84F-EEC9-4D0B-BE2E-5C2C7606A7F7}" dt="2024-07-03T14:50:21.407" v="1125"/>
          <ac:spMkLst>
            <pc:docMk/>
            <pc:sldMk cId="2617182348" sldId="736"/>
            <ac:spMk id="4" creationId="{CB72171A-6BEA-7DB4-ED65-73E34AED83D0}"/>
          </ac:spMkLst>
        </pc:spChg>
        <pc:spChg chg="mod">
          <ac:chgData name="Albie Melia  (EU Projects &amp; Communication Specialist)" userId="2d1a2eb5-dfb4-4d11-8423-60408b1fc395" providerId="ADAL" clId="{9564C84F-EEC9-4D0B-BE2E-5C2C7606A7F7}" dt="2024-07-03T14:50:07.145" v="1123" actId="20577"/>
          <ac:spMkLst>
            <pc:docMk/>
            <pc:sldMk cId="2617182348" sldId="736"/>
            <ac:spMk id="5" creationId="{E7F130F1-AFA1-7184-442C-FCFC417F7375}"/>
          </ac:spMkLst>
        </pc:spChg>
        <pc:spChg chg="mod">
          <ac:chgData name="Albie Melia  (EU Projects &amp; Communication Specialist)" userId="2d1a2eb5-dfb4-4d11-8423-60408b1fc395" providerId="ADAL" clId="{9564C84F-EEC9-4D0B-BE2E-5C2C7606A7F7}" dt="2024-07-03T14:50:44.774" v="1130" actId="20577"/>
          <ac:spMkLst>
            <pc:docMk/>
            <pc:sldMk cId="2617182348" sldId="736"/>
            <ac:spMk id="6" creationId="{87F9A46B-9921-1114-7803-7713611DD46A}"/>
          </ac:spMkLst>
        </pc:spChg>
        <pc:spChg chg="mod">
          <ac:chgData name="Albie Melia  (EU Projects &amp; Communication Specialist)" userId="2d1a2eb5-dfb4-4d11-8423-60408b1fc395" providerId="ADAL" clId="{9564C84F-EEC9-4D0B-BE2E-5C2C7606A7F7}" dt="2024-07-03T14:50:52.536" v="1132" actId="123"/>
          <ac:spMkLst>
            <pc:docMk/>
            <pc:sldMk cId="2617182348" sldId="736"/>
            <ac:spMk id="7" creationId="{3AD6096D-9A22-8EF3-DEF4-1DC153C19F62}"/>
          </ac:spMkLst>
        </pc:spChg>
      </pc:sldChg>
      <pc:sldChg chg="modSp new del mod">
        <pc:chgData name="Albie Melia  (EU Projects &amp; Communication Specialist)" userId="2d1a2eb5-dfb4-4d11-8423-60408b1fc395" providerId="ADAL" clId="{9564C84F-EEC9-4D0B-BE2E-5C2C7606A7F7}" dt="2024-07-03T14:54:06.476" v="1136" actId="47"/>
        <pc:sldMkLst>
          <pc:docMk/>
          <pc:sldMk cId="1440574183" sldId="737"/>
        </pc:sldMkLst>
        <pc:spChg chg="mod">
          <ac:chgData name="Albie Melia  (EU Projects &amp; Communication Specialist)" userId="2d1a2eb5-dfb4-4d11-8423-60408b1fc395" providerId="ADAL" clId="{9564C84F-EEC9-4D0B-BE2E-5C2C7606A7F7}" dt="2024-07-03T14:48:57.403" v="1110" actId="20577"/>
          <ac:spMkLst>
            <pc:docMk/>
            <pc:sldMk cId="1440574183" sldId="737"/>
            <ac:spMk id="2" creationId="{3259776B-574B-DD1C-99DB-3C1832BFDF32}"/>
          </ac:spMkLst>
        </pc:spChg>
        <pc:spChg chg="mod">
          <ac:chgData name="Albie Melia  (EU Projects &amp; Communication Specialist)" userId="2d1a2eb5-dfb4-4d11-8423-60408b1fc395" providerId="ADAL" clId="{9564C84F-EEC9-4D0B-BE2E-5C2C7606A7F7}" dt="2024-07-03T14:49:03.903" v="1113" actId="20577"/>
          <ac:spMkLst>
            <pc:docMk/>
            <pc:sldMk cId="1440574183" sldId="737"/>
            <ac:spMk id="3" creationId="{34133B8C-008E-6A43-BE93-8CE0FBF53EC2}"/>
          </ac:spMkLst>
        </pc:spChg>
        <pc:spChg chg="mod">
          <ac:chgData name="Albie Melia  (EU Projects &amp; Communication Specialist)" userId="2d1a2eb5-dfb4-4d11-8423-60408b1fc395" providerId="ADAL" clId="{9564C84F-EEC9-4D0B-BE2E-5C2C7606A7F7}" dt="2024-07-03T14:49:26.701" v="1119" actId="20577"/>
          <ac:spMkLst>
            <pc:docMk/>
            <pc:sldMk cId="1440574183" sldId="737"/>
            <ac:spMk id="4" creationId="{5FD3B387-047B-4B17-038A-05A9057FEA3B}"/>
          </ac:spMkLst>
        </pc:spChg>
        <pc:spChg chg="mod">
          <ac:chgData name="Albie Melia  (EU Projects &amp; Communication Specialist)" userId="2d1a2eb5-dfb4-4d11-8423-60408b1fc395" providerId="ADAL" clId="{9564C84F-EEC9-4D0B-BE2E-5C2C7606A7F7}" dt="2024-07-03T14:49:24.708" v="1117" actId="21"/>
          <ac:spMkLst>
            <pc:docMk/>
            <pc:sldMk cId="1440574183" sldId="737"/>
            <ac:spMk id="5" creationId="{5D767A81-46CB-89C8-9F1C-4C48FAB80D1A}"/>
          </ac:spMkLst>
        </pc:spChg>
      </pc:sldChg>
      <pc:sldChg chg="add del">
        <pc:chgData name="Albie Melia  (EU Projects &amp; Communication Specialist)" userId="2d1a2eb5-dfb4-4d11-8423-60408b1fc395" providerId="ADAL" clId="{9564C84F-EEC9-4D0B-BE2E-5C2C7606A7F7}" dt="2024-07-03T14:54:07.958" v="1137" actId="47"/>
        <pc:sldMkLst>
          <pc:docMk/>
          <pc:sldMk cId="4039561652" sldId="738"/>
        </pc:sldMkLst>
      </pc:sldChg>
      <pc:sldChg chg="modSp add mod ord">
        <pc:chgData name="Albie Melia  (EU Projects &amp; Communication Specialist)" userId="2d1a2eb5-dfb4-4d11-8423-60408b1fc395" providerId="ADAL" clId="{9564C84F-EEC9-4D0B-BE2E-5C2C7606A7F7}" dt="2024-07-03T14:54:36.129" v="1145" actId="20577"/>
        <pc:sldMkLst>
          <pc:docMk/>
          <pc:sldMk cId="2978453415" sldId="739"/>
        </pc:sldMkLst>
        <pc:spChg chg="mod">
          <ac:chgData name="Albie Melia  (EU Projects &amp; Communication Specialist)" userId="2d1a2eb5-dfb4-4d11-8423-60408b1fc395" providerId="ADAL" clId="{9564C84F-EEC9-4D0B-BE2E-5C2C7606A7F7}" dt="2024-07-03T14:54:31.383" v="1143" actId="14100"/>
          <ac:spMkLst>
            <pc:docMk/>
            <pc:sldMk cId="2978453415" sldId="739"/>
            <ac:spMk id="3" creationId="{19F0A573-4FCC-AB89-C3C0-7549715958A3}"/>
          </ac:spMkLst>
        </pc:spChg>
        <pc:spChg chg="mod">
          <ac:chgData name="Albie Melia  (EU Projects &amp; Communication Specialist)" userId="2d1a2eb5-dfb4-4d11-8423-60408b1fc395" providerId="ADAL" clId="{9564C84F-EEC9-4D0B-BE2E-5C2C7606A7F7}" dt="2024-07-03T14:54:36.129" v="1145" actId="20577"/>
          <ac:spMkLst>
            <pc:docMk/>
            <pc:sldMk cId="2978453415" sldId="739"/>
            <ac:spMk id="4" creationId="{3E39D10D-9E7B-9E23-EFA4-5AF15B5B356E}"/>
          </ac:spMkLst>
        </pc:spChg>
      </pc:sldChg>
      <pc:sldChg chg="modSp add mod">
        <pc:chgData name="Albie Melia  (EU Projects &amp; Communication Specialist)" userId="2d1a2eb5-dfb4-4d11-8423-60408b1fc395" providerId="ADAL" clId="{9564C84F-EEC9-4D0B-BE2E-5C2C7606A7F7}" dt="2024-07-03T15:03:44.976" v="1221" actId="20577"/>
        <pc:sldMkLst>
          <pc:docMk/>
          <pc:sldMk cId="3433313997" sldId="740"/>
        </pc:sldMkLst>
        <pc:spChg chg="mod">
          <ac:chgData name="Albie Melia  (EU Projects &amp; Communication Specialist)" userId="2d1a2eb5-dfb4-4d11-8423-60408b1fc395" providerId="ADAL" clId="{9564C84F-EEC9-4D0B-BE2E-5C2C7606A7F7}" dt="2024-07-03T15:03:22.089" v="1215" actId="20577"/>
          <ac:spMkLst>
            <pc:docMk/>
            <pc:sldMk cId="3433313997" sldId="740"/>
            <ac:spMk id="8" creationId="{425817A8-4434-7A42-8FDC-D5DBA4F4E62B}"/>
          </ac:spMkLst>
        </pc:spChg>
        <pc:spChg chg="mod">
          <ac:chgData name="Albie Melia  (EU Projects &amp; Communication Specialist)" userId="2d1a2eb5-dfb4-4d11-8423-60408b1fc395" providerId="ADAL" clId="{9564C84F-EEC9-4D0B-BE2E-5C2C7606A7F7}" dt="2024-07-03T15:03:44.976" v="1221" actId="20577"/>
          <ac:spMkLst>
            <pc:docMk/>
            <pc:sldMk cId="3433313997" sldId="740"/>
            <ac:spMk id="10" creationId="{F8251304-71BA-DB4B-935B-6BA8C2444400}"/>
          </ac:spMkLst>
        </pc:spChg>
      </pc:sldChg>
      <pc:sldChg chg="modSp add mod">
        <pc:chgData name="Albie Melia  (EU Projects &amp; Communication Specialist)" userId="2d1a2eb5-dfb4-4d11-8423-60408b1fc395" providerId="ADAL" clId="{9564C84F-EEC9-4D0B-BE2E-5C2C7606A7F7}" dt="2024-07-03T15:04:58.208" v="1250" actId="20577"/>
        <pc:sldMkLst>
          <pc:docMk/>
          <pc:sldMk cId="2532512147" sldId="741"/>
        </pc:sldMkLst>
        <pc:spChg chg="mod">
          <ac:chgData name="Albie Melia  (EU Projects &amp; Communication Specialist)" userId="2d1a2eb5-dfb4-4d11-8423-60408b1fc395" providerId="ADAL" clId="{9564C84F-EEC9-4D0B-BE2E-5C2C7606A7F7}" dt="2024-07-03T15:04:03.504" v="1225" actId="20577"/>
          <ac:spMkLst>
            <pc:docMk/>
            <pc:sldMk cId="2532512147" sldId="741"/>
            <ac:spMk id="8" creationId="{425817A8-4434-7A42-8FDC-D5DBA4F4E62B}"/>
          </ac:spMkLst>
        </pc:spChg>
        <pc:spChg chg="mod">
          <ac:chgData name="Albie Melia  (EU Projects &amp; Communication Specialist)" userId="2d1a2eb5-dfb4-4d11-8423-60408b1fc395" providerId="ADAL" clId="{9564C84F-EEC9-4D0B-BE2E-5C2C7606A7F7}" dt="2024-07-03T15:04:58.208" v="1250" actId="20577"/>
          <ac:spMkLst>
            <pc:docMk/>
            <pc:sldMk cId="2532512147" sldId="741"/>
            <ac:spMk id="10" creationId="{F8251304-71BA-DB4B-935B-6BA8C2444400}"/>
          </ac:spMkLst>
        </pc:spChg>
      </pc:sldChg>
      <pc:sldChg chg="modSp add mod ord">
        <pc:chgData name="Albie Melia  (EU Projects &amp; Communication Specialist)" userId="2d1a2eb5-dfb4-4d11-8423-60408b1fc395" providerId="ADAL" clId="{9564C84F-EEC9-4D0B-BE2E-5C2C7606A7F7}" dt="2024-07-03T15:16:39.384" v="1303" actId="20577"/>
        <pc:sldMkLst>
          <pc:docMk/>
          <pc:sldMk cId="632797153" sldId="742"/>
        </pc:sldMkLst>
        <pc:spChg chg="mod">
          <ac:chgData name="Albie Melia  (EU Projects &amp; Communication Specialist)" userId="2d1a2eb5-dfb4-4d11-8423-60408b1fc395" providerId="ADAL" clId="{9564C84F-EEC9-4D0B-BE2E-5C2C7606A7F7}" dt="2024-07-03T15:15:18.602" v="1283" actId="1076"/>
          <ac:spMkLst>
            <pc:docMk/>
            <pc:sldMk cId="632797153" sldId="742"/>
            <ac:spMk id="3" creationId="{19F0A573-4FCC-AB89-C3C0-7549715958A3}"/>
          </ac:spMkLst>
        </pc:spChg>
        <pc:spChg chg="mod">
          <ac:chgData name="Albie Melia  (EU Projects &amp; Communication Specialist)" userId="2d1a2eb5-dfb4-4d11-8423-60408b1fc395" providerId="ADAL" clId="{9564C84F-EEC9-4D0B-BE2E-5C2C7606A7F7}" dt="2024-07-03T15:16:39.384" v="1303" actId="20577"/>
          <ac:spMkLst>
            <pc:docMk/>
            <pc:sldMk cId="632797153" sldId="742"/>
            <ac:spMk id="4" creationId="{3E39D10D-9E7B-9E23-EFA4-5AF15B5B356E}"/>
          </ac:spMkLst>
        </pc:spChg>
      </pc:sldChg>
      <pc:sldChg chg="modSp add mod ord">
        <pc:chgData name="Albie Melia  (EU Projects &amp; Communication Specialist)" userId="2d1a2eb5-dfb4-4d11-8423-60408b1fc395" providerId="ADAL" clId="{9564C84F-EEC9-4D0B-BE2E-5C2C7606A7F7}" dt="2024-07-03T15:21:16.099" v="1345" actId="1076"/>
        <pc:sldMkLst>
          <pc:docMk/>
          <pc:sldMk cId="4287356237" sldId="743"/>
        </pc:sldMkLst>
        <pc:spChg chg="mod">
          <ac:chgData name="Albie Melia  (EU Projects &amp; Communication Specialist)" userId="2d1a2eb5-dfb4-4d11-8423-60408b1fc395" providerId="ADAL" clId="{9564C84F-EEC9-4D0B-BE2E-5C2C7606A7F7}" dt="2024-07-03T15:21:16.099" v="1345" actId="1076"/>
          <ac:spMkLst>
            <pc:docMk/>
            <pc:sldMk cId="4287356237" sldId="743"/>
            <ac:spMk id="3" creationId="{35AC186C-5DE3-6542-A610-70101C6B0F93}"/>
          </ac:spMkLst>
        </pc:spChg>
      </pc:sldChg>
      <pc:sldChg chg="modSp add mod ord">
        <pc:chgData name="Albie Melia  (EU Projects &amp; Communication Specialist)" userId="2d1a2eb5-dfb4-4d11-8423-60408b1fc395" providerId="ADAL" clId="{9564C84F-EEC9-4D0B-BE2E-5C2C7606A7F7}" dt="2024-07-03T15:29:38.897" v="1365" actId="20577"/>
        <pc:sldMkLst>
          <pc:docMk/>
          <pc:sldMk cId="2797278001" sldId="744"/>
        </pc:sldMkLst>
        <pc:spChg chg="mod">
          <ac:chgData name="Albie Melia  (EU Projects &amp; Communication Specialist)" userId="2d1a2eb5-dfb4-4d11-8423-60408b1fc395" providerId="ADAL" clId="{9564C84F-EEC9-4D0B-BE2E-5C2C7606A7F7}" dt="2024-07-03T15:29:38.897" v="1365" actId="20577"/>
          <ac:spMkLst>
            <pc:docMk/>
            <pc:sldMk cId="2797278001" sldId="744"/>
            <ac:spMk id="4" creationId="{03217DE6-3467-0A26-1950-9C5913DF9B0A}"/>
          </ac:spMkLst>
        </pc:spChg>
      </pc:sldChg>
      <pc:sldChg chg="modSp new mod">
        <pc:chgData name="Albie Melia  (EU Projects &amp; Communication Specialist)" userId="2d1a2eb5-dfb4-4d11-8423-60408b1fc395" providerId="ADAL" clId="{9564C84F-EEC9-4D0B-BE2E-5C2C7606A7F7}" dt="2024-07-08T10:53:27.762" v="1395" actId="20577"/>
        <pc:sldMkLst>
          <pc:docMk/>
          <pc:sldMk cId="2092404322" sldId="745"/>
        </pc:sldMkLst>
        <pc:spChg chg="mod">
          <ac:chgData name="Albie Melia  (EU Projects &amp; Communication Specialist)" userId="2d1a2eb5-dfb4-4d11-8423-60408b1fc395" providerId="ADAL" clId="{9564C84F-EEC9-4D0B-BE2E-5C2C7606A7F7}" dt="2024-07-08T10:53:18.237" v="1385" actId="20577"/>
          <ac:spMkLst>
            <pc:docMk/>
            <pc:sldMk cId="2092404322" sldId="745"/>
            <ac:spMk id="3" creationId="{141D1BF4-C7CE-8013-C509-BCA028B0B555}"/>
          </ac:spMkLst>
        </pc:spChg>
        <pc:spChg chg="mod">
          <ac:chgData name="Albie Melia  (EU Projects &amp; Communication Specialist)" userId="2d1a2eb5-dfb4-4d11-8423-60408b1fc395" providerId="ADAL" clId="{9564C84F-EEC9-4D0B-BE2E-5C2C7606A7F7}" dt="2024-07-08T10:53:27.762" v="1395" actId="20577"/>
          <ac:spMkLst>
            <pc:docMk/>
            <pc:sldMk cId="2092404322" sldId="745"/>
            <ac:spMk id="4" creationId="{FF3C6E5D-B43B-2E8E-CACF-8A18D376B2D9}"/>
          </ac:spMkLst>
        </pc:spChg>
      </pc:sldChg>
      <pc:sldChg chg="modSp new mod ord">
        <pc:chgData name="Albie Melia  (EU Projects &amp; Communication Specialist)" userId="2d1a2eb5-dfb4-4d11-8423-60408b1fc395" providerId="ADAL" clId="{9564C84F-EEC9-4D0B-BE2E-5C2C7606A7F7}" dt="2024-07-08T12:46:48.977" v="1662" actId="20577"/>
        <pc:sldMkLst>
          <pc:docMk/>
          <pc:sldMk cId="2646895411" sldId="746"/>
        </pc:sldMkLst>
        <pc:spChg chg="mod">
          <ac:chgData name="Albie Melia  (EU Projects &amp; Communication Specialist)" userId="2d1a2eb5-dfb4-4d11-8423-60408b1fc395" providerId="ADAL" clId="{9564C84F-EEC9-4D0B-BE2E-5C2C7606A7F7}" dt="2024-07-08T11:39:05.720" v="1651" actId="20577"/>
          <ac:spMkLst>
            <pc:docMk/>
            <pc:sldMk cId="2646895411" sldId="746"/>
            <ac:spMk id="2" creationId="{8EDE0EBD-8276-5E4D-4463-FFF822A2477C}"/>
          </ac:spMkLst>
        </pc:spChg>
        <pc:spChg chg="mod">
          <ac:chgData name="Albie Melia  (EU Projects &amp; Communication Specialist)" userId="2d1a2eb5-dfb4-4d11-8423-60408b1fc395" providerId="ADAL" clId="{9564C84F-EEC9-4D0B-BE2E-5C2C7606A7F7}" dt="2024-07-08T12:46:48.977" v="1662" actId="20577"/>
          <ac:spMkLst>
            <pc:docMk/>
            <pc:sldMk cId="2646895411" sldId="746"/>
            <ac:spMk id="3" creationId="{C6485A9C-8761-5459-986C-41CF7EA10F74}"/>
          </ac:spMkLst>
        </pc:spChg>
      </pc:sldChg>
      <pc:sldChg chg="modSp new mod">
        <pc:chgData name="Albie Melia  (EU Projects &amp; Communication Specialist)" userId="2d1a2eb5-dfb4-4d11-8423-60408b1fc395" providerId="ADAL" clId="{9564C84F-EEC9-4D0B-BE2E-5C2C7606A7F7}" dt="2024-07-08T11:32:37.405" v="1633" actId="20577"/>
        <pc:sldMkLst>
          <pc:docMk/>
          <pc:sldMk cId="2857297846" sldId="747"/>
        </pc:sldMkLst>
        <pc:spChg chg="mod">
          <ac:chgData name="Albie Melia  (EU Projects &amp; Communication Specialist)" userId="2d1a2eb5-dfb4-4d11-8423-60408b1fc395" providerId="ADAL" clId="{9564C84F-EEC9-4D0B-BE2E-5C2C7606A7F7}" dt="2024-07-08T11:31:25.925" v="1596"/>
          <ac:spMkLst>
            <pc:docMk/>
            <pc:sldMk cId="2857297846" sldId="747"/>
            <ac:spMk id="2" creationId="{5EA4A2FE-027E-EA68-2402-6F51851356F2}"/>
          </ac:spMkLst>
        </pc:spChg>
        <pc:spChg chg="mod">
          <ac:chgData name="Albie Melia  (EU Projects &amp; Communication Specialist)" userId="2d1a2eb5-dfb4-4d11-8423-60408b1fc395" providerId="ADAL" clId="{9564C84F-EEC9-4D0B-BE2E-5C2C7606A7F7}" dt="2024-07-08T11:31:33.773" v="1597" actId="14100"/>
          <ac:spMkLst>
            <pc:docMk/>
            <pc:sldMk cId="2857297846" sldId="747"/>
            <ac:spMk id="3" creationId="{88D2704B-DE22-4722-6A36-5D97D8B9B872}"/>
          </ac:spMkLst>
        </pc:spChg>
        <pc:spChg chg="mod">
          <ac:chgData name="Albie Melia  (EU Projects &amp; Communication Specialist)" userId="2d1a2eb5-dfb4-4d11-8423-60408b1fc395" providerId="ADAL" clId="{9564C84F-EEC9-4D0B-BE2E-5C2C7606A7F7}" dt="2024-07-08T11:32:00.114" v="1622" actId="20577"/>
          <ac:spMkLst>
            <pc:docMk/>
            <pc:sldMk cId="2857297846" sldId="747"/>
            <ac:spMk id="4" creationId="{F29532C3-6E6F-DE57-8548-B28B8A9AA1BC}"/>
          </ac:spMkLst>
        </pc:spChg>
        <pc:spChg chg="mod">
          <ac:chgData name="Albie Melia  (EU Projects &amp; Communication Specialist)" userId="2d1a2eb5-dfb4-4d11-8423-60408b1fc395" providerId="ADAL" clId="{9564C84F-EEC9-4D0B-BE2E-5C2C7606A7F7}" dt="2024-07-08T11:31:53.193" v="1601" actId="123"/>
          <ac:spMkLst>
            <pc:docMk/>
            <pc:sldMk cId="2857297846" sldId="747"/>
            <ac:spMk id="5" creationId="{BA22660C-39F9-5A75-B148-0C02564A627D}"/>
          </ac:spMkLst>
        </pc:spChg>
        <pc:spChg chg="mod">
          <ac:chgData name="Albie Melia  (EU Projects &amp; Communication Specialist)" userId="2d1a2eb5-dfb4-4d11-8423-60408b1fc395" providerId="ADAL" clId="{9564C84F-EEC9-4D0B-BE2E-5C2C7606A7F7}" dt="2024-07-08T11:32:27.732" v="1629" actId="20577"/>
          <ac:spMkLst>
            <pc:docMk/>
            <pc:sldMk cId="2857297846" sldId="747"/>
            <ac:spMk id="6" creationId="{EFC8A87F-D862-1013-CC17-077DF774C1D7}"/>
          </ac:spMkLst>
        </pc:spChg>
        <pc:spChg chg="mod">
          <ac:chgData name="Albie Melia  (EU Projects &amp; Communication Specialist)" userId="2d1a2eb5-dfb4-4d11-8423-60408b1fc395" providerId="ADAL" clId="{9564C84F-EEC9-4D0B-BE2E-5C2C7606A7F7}" dt="2024-07-08T11:32:37.405" v="1633" actId="20577"/>
          <ac:spMkLst>
            <pc:docMk/>
            <pc:sldMk cId="2857297846" sldId="747"/>
            <ac:spMk id="7" creationId="{47EC3BC3-B5ED-8069-2907-2FC425A3DAE9}"/>
          </ac:spMkLst>
        </pc:spChg>
      </pc:sldChg>
      <pc:sldChg chg="modSp new mod">
        <pc:chgData name="Albie Melia  (EU Projects &amp; Communication Specialist)" userId="2d1a2eb5-dfb4-4d11-8423-60408b1fc395" providerId="ADAL" clId="{9564C84F-EEC9-4D0B-BE2E-5C2C7606A7F7}" dt="2024-07-08T12:56:21.835" v="1768" actId="20577"/>
        <pc:sldMkLst>
          <pc:docMk/>
          <pc:sldMk cId="1998329465" sldId="748"/>
        </pc:sldMkLst>
        <pc:spChg chg="mod">
          <ac:chgData name="Albie Melia  (EU Projects &amp; Communication Specialist)" userId="2d1a2eb5-dfb4-4d11-8423-60408b1fc395" providerId="ADAL" clId="{9564C84F-EEC9-4D0B-BE2E-5C2C7606A7F7}" dt="2024-07-08T12:54:11.669" v="1671" actId="20577"/>
          <ac:spMkLst>
            <pc:docMk/>
            <pc:sldMk cId="1998329465" sldId="748"/>
            <ac:spMk id="2" creationId="{A444107E-FEF0-78A2-D7CC-C6FF71C1D721}"/>
          </ac:spMkLst>
        </pc:spChg>
        <pc:spChg chg="mod">
          <ac:chgData name="Albie Melia  (EU Projects &amp; Communication Specialist)" userId="2d1a2eb5-dfb4-4d11-8423-60408b1fc395" providerId="ADAL" clId="{9564C84F-EEC9-4D0B-BE2E-5C2C7606A7F7}" dt="2024-07-08T12:54:22.151" v="1672" actId="20577"/>
          <ac:spMkLst>
            <pc:docMk/>
            <pc:sldMk cId="1998329465" sldId="748"/>
            <ac:spMk id="3" creationId="{C6428DBF-4CF3-F60C-EA47-241188B9BF2A}"/>
          </ac:spMkLst>
        </pc:spChg>
        <pc:spChg chg="mod">
          <ac:chgData name="Albie Melia  (EU Projects &amp; Communication Specialist)" userId="2d1a2eb5-dfb4-4d11-8423-60408b1fc395" providerId="ADAL" clId="{9564C84F-EEC9-4D0B-BE2E-5C2C7606A7F7}" dt="2024-07-08T12:54:55.264" v="1678" actId="20577"/>
          <ac:spMkLst>
            <pc:docMk/>
            <pc:sldMk cId="1998329465" sldId="748"/>
            <ac:spMk id="4" creationId="{F222C782-E66E-2BCC-E67C-E7D66751AEA1}"/>
          </ac:spMkLst>
        </pc:spChg>
        <pc:spChg chg="mod">
          <ac:chgData name="Albie Melia  (EU Projects &amp; Communication Specialist)" userId="2d1a2eb5-dfb4-4d11-8423-60408b1fc395" providerId="ADAL" clId="{9564C84F-EEC9-4D0B-BE2E-5C2C7606A7F7}" dt="2024-07-08T12:55:05.120" v="1739" actId="6549"/>
          <ac:spMkLst>
            <pc:docMk/>
            <pc:sldMk cId="1998329465" sldId="748"/>
            <ac:spMk id="5" creationId="{D2B15619-1C5D-B648-A04F-649B153200C0}"/>
          </ac:spMkLst>
        </pc:spChg>
        <pc:spChg chg="mod">
          <ac:chgData name="Albie Melia  (EU Projects &amp; Communication Specialist)" userId="2d1a2eb5-dfb4-4d11-8423-60408b1fc395" providerId="ADAL" clId="{9564C84F-EEC9-4D0B-BE2E-5C2C7606A7F7}" dt="2024-07-08T12:56:21.835" v="1768" actId="20577"/>
          <ac:spMkLst>
            <pc:docMk/>
            <pc:sldMk cId="1998329465" sldId="748"/>
            <ac:spMk id="6" creationId="{44F4C4D7-4430-8B18-7D80-7C70314D346D}"/>
          </ac:spMkLst>
        </pc:spChg>
        <pc:spChg chg="mod">
          <ac:chgData name="Albie Melia  (EU Projects &amp; Communication Specialist)" userId="2d1a2eb5-dfb4-4d11-8423-60408b1fc395" providerId="ADAL" clId="{9564C84F-EEC9-4D0B-BE2E-5C2C7606A7F7}" dt="2024-07-08T12:56:04.957" v="1747" actId="20577"/>
          <ac:spMkLst>
            <pc:docMk/>
            <pc:sldMk cId="1998329465" sldId="748"/>
            <ac:spMk id="7" creationId="{ABCDDC8B-D0B9-178B-DDDB-905F2CE578EE}"/>
          </ac:spMkLst>
        </pc:spChg>
      </pc:sldChg>
      <pc:sldChg chg="modSp new mod">
        <pc:chgData name="Albie Melia  (EU Projects &amp; Communication Specialist)" userId="2d1a2eb5-dfb4-4d11-8423-60408b1fc395" providerId="ADAL" clId="{9564C84F-EEC9-4D0B-BE2E-5C2C7606A7F7}" dt="2024-07-08T12:58:32.303" v="1789" actId="20577"/>
        <pc:sldMkLst>
          <pc:docMk/>
          <pc:sldMk cId="3217850535" sldId="749"/>
        </pc:sldMkLst>
        <pc:spChg chg="mod">
          <ac:chgData name="Albie Melia  (EU Projects &amp; Communication Specialist)" userId="2d1a2eb5-dfb4-4d11-8423-60408b1fc395" providerId="ADAL" clId="{9564C84F-EEC9-4D0B-BE2E-5C2C7606A7F7}" dt="2024-07-08T12:57:50.501" v="1775" actId="20577"/>
          <ac:spMkLst>
            <pc:docMk/>
            <pc:sldMk cId="3217850535" sldId="749"/>
            <ac:spMk id="2" creationId="{E2183ED8-CF53-96C9-488E-5C0DB65EBEC6}"/>
          </ac:spMkLst>
        </pc:spChg>
        <pc:spChg chg="mod">
          <ac:chgData name="Albie Melia  (EU Projects &amp; Communication Specialist)" userId="2d1a2eb5-dfb4-4d11-8423-60408b1fc395" providerId="ADAL" clId="{9564C84F-EEC9-4D0B-BE2E-5C2C7606A7F7}" dt="2024-07-08T12:58:32.303" v="1789" actId="20577"/>
          <ac:spMkLst>
            <pc:docMk/>
            <pc:sldMk cId="3217850535" sldId="749"/>
            <ac:spMk id="3" creationId="{760BA8A0-B2A8-105B-B169-E91D08DDE469}"/>
          </ac:spMkLst>
        </pc:spChg>
      </pc:sldChg>
      <pc:sldChg chg="modSp new mod">
        <pc:chgData name="Albie Melia  (EU Projects &amp; Communication Specialist)" userId="2d1a2eb5-dfb4-4d11-8423-60408b1fc395" providerId="ADAL" clId="{9564C84F-EEC9-4D0B-BE2E-5C2C7606A7F7}" dt="2024-07-08T13:55:18.840" v="1852" actId="20577"/>
        <pc:sldMkLst>
          <pc:docMk/>
          <pc:sldMk cId="4167877134" sldId="750"/>
        </pc:sldMkLst>
        <pc:spChg chg="mod">
          <ac:chgData name="Albie Melia  (EU Projects &amp; Communication Specialist)" userId="2d1a2eb5-dfb4-4d11-8423-60408b1fc395" providerId="ADAL" clId="{9564C84F-EEC9-4D0B-BE2E-5C2C7606A7F7}" dt="2024-07-08T13:54:33.177" v="1835" actId="1076"/>
          <ac:spMkLst>
            <pc:docMk/>
            <pc:sldMk cId="4167877134" sldId="750"/>
            <ac:spMk id="3" creationId="{8A3EAC19-7EA8-FAA3-8A7E-D03333785E15}"/>
          </ac:spMkLst>
        </pc:spChg>
        <pc:spChg chg="mod">
          <ac:chgData name="Albie Melia  (EU Projects &amp; Communication Specialist)" userId="2d1a2eb5-dfb4-4d11-8423-60408b1fc395" providerId="ADAL" clId="{9564C84F-EEC9-4D0B-BE2E-5C2C7606A7F7}" dt="2024-07-08T13:55:18.840" v="1852" actId="20577"/>
          <ac:spMkLst>
            <pc:docMk/>
            <pc:sldMk cId="4167877134" sldId="750"/>
            <ac:spMk id="4" creationId="{AC5590B2-EE46-F20E-DF5F-E553FF92DECB}"/>
          </ac:spMkLst>
        </pc:spChg>
      </pc:sldChg>
      <pc:sldChg chg="modSp add mod ord">
        <pc:chgData name="Albie Melia  (EU Projects &amp; Communication Specialist)" userId="2d1a2eb5-dfb4-4d11-8423-60408b1fc395" providerId="ADAL" clId="{9564C84F-EEC9-4D0B-BE2E-5C2C7606A7F7}" dt="2024-07-08T14:09:35.917" v="1880" actId="20577"/>
        <pc:sldMkLst>
          <pc:docMk/>
          <pc:sldMk cId="2582639256" sldId="751"/>
        </pc:sldMkLst>
        <pc:spChg chg="mod">
          <ac:chgData name="Albie Melia  (EU Projects &amp; Communication Specialist)" userId="2d1a2eb5-dfb4-4d11-8423-60408b1fc395" providerId="ADAL" clId="{9564C84F-EEC9-4D0B-BE2E-5C2C7606A7F7}" dt="2024-07-08T14:09:35.917" v="1880" actId="20577"/>
          <ac:spMkLst>
            <pc:docMk/>
            <pc:sldMk cId="2582639256" sldId="751"/>
            <ac:spMk id="3" creationId="{35AC186C-5DE3-6542-A610-70101C6B0F93}"/>
          </ac:spMkLst>
        </pc:spChg>
      </pc:sldChg>
      <pc:sldChg chg="modSp add mod ord">
        <pc:chgData name="Albie Melia  (EU Projects &amp; Communication Specialist)" userId="2d1a2eb5-dfb4-4d11-8423-60408b1fc395" providerId="ADAL" clId="{9564C84F-EEC9-4D0B-BE2E-5C2C7606A7F7}" dt="2024-07-08T14:23:12.898" v="2029" actId="20577"/>
        <pc:sldMkLst>
          <pc:docMk/>
          <pc:sldMk cId="3244538806" sldId="752"/>
        </pc:sldMkLst>
        <pc:spChg chg="mod">
          <ac:chgData name="Albie Melia  (EU Projects &amp; Communication Specialist)" userId="2d1a2eb5-dfb4-4d11-8423-60408b1fc395" providerId="ADAL" clId="{9564C84F-EEC9-4D0B-BE2E-5C2C7606A7F7}" dt="2024-07-08T14:23:12.898" v="2029" actId="20577"/>
          <ac:spMkLst>
            <pc:docMk/>
            <pc:sldMk cId="3244538806" sldId="752"/>
            <ac:spMk id="4" creationId="{03217DE6-3467-0A26-1950-9C5913DF9B0A}"/>
          </ac:spMkLst>
        </pc:spChg>
      </pc:sldChg>
      <pc:sldChg chg="modSp new mod">
        <pc:chgData name="Albie Melia  (EU Projects &amp; Communication Specialist)" userId="2d1a2eb5-dfb4-4d11-8423-60408b1fc395" providerId="ADAL" clId="{9564C84F-EEC9-4D0B-BE2E-5C2C7606A7F7}" dt="2024-07-08T14:26:04.106" v="2059" actId="1076"/>
        <pc:sldMkLst>
          <pc:docMk/>
          <pc:sldMk cId="2352554636" sldId="753"/>
        </pc:sldMkLst>
        <pc:spChg chg="mod">
          <ac:chgData name="Albie Melia  (EU Projects &amp; Communication Specialist)" userId="2d1a2eb5-dfb4-4d11-8423-60408b1fc395" providerId="ADAL" clId="{9564C84F-EEC9-4D0B-BE2E-5C2C7606A7F7}" dt="2024-07-08T14:23:38.673" v="2042" actId="20577"/>
          <ac:spMkLst>
            <pc:docMk/>
            <pc:sldMk cId="2352554636" sldId="753"/>
            <ac:spMk id="3" creationId="{6A4EF221-7CCE-A271-B3D5-F080AE9772E8}"/>
          </ac:spMkLst>
        </pc:spChg>
        <pc:spChg chg="mod">
          <ac:chgData name="Albie Melia  (EU Projects &amp; Communication Specialist)" userId="2d1a2eb5-dfb4-4d11-8423-60408b1fc395" providerId="ADAL" clId="{9564C84F-EEC9-4D0B-BE2E-5C2C7606A7F7}" dt="2024-07-08T14:26:04.106" v="2059" actId="1076"/>
          <ac:spMkLst>
            <pc:docMk/>
            <pc:sldMk cId="2352554636" sldId="753"/>
            <ac:spMk id="4" creationId="{D5B3BAEB-1C43-BF5B-1951-02F9F56C2A39}"/>
          </ac:spMkLst>
        </pc:spChg>
      </pc:sldChg>
      <pc:sldChg chg="modSp add mod">
        <pc:chgData name="Albie Melia  (EU Projects &amp; Communication Specialist)" userId="2d1a2eb5-dfb4-4d11-8423-60408b1fc395" providerId="ADAL" clId="{9564C84F-EEC9-4D0B-BE2E-5C2C7606A7F7}" dt="2024-07-08T14:36:29.627" v="2170" actId="14100"/>
        <pc:sldMkLst>
          <pc:docMk/>
          <pc:sldMk cId="4038880755" sldId="754"/>
        </pc:sldMkLst>
        <pc:spChg chg="mod">
          <ac:chgData name="Albie Melia  (EU Projects &amp; Communication Specialist)" userId="2d1a2eb5-dfb4-4d11-8423-60408b1fc395" providerId="ADAL" clId="{9564C84F-EEC9-4D0B-BE2E-5C2C7606A7F7}" dt="2024-07-08T14:36:00.064" v="2150" actId="20577"/>
          <ac:spMkLst>
            <pc:docMk/>
            <pc:sldMk cId="4038880755" sldId="754"/>
            <ac:spMk id="8" creationId="{425817A8-4434-7A42-8FDC-D5DBA4F4E62B}"/>
          </ac:spMkLst>
        </pc:spChg>
        <pc:spChg chg="mod">
          <ac:chgData name="Albie Melia  (EU Projects &amp; Communication Specialist)" userId="2d1a2eb5-dfb4-4d11-8423-60408b1fc395" providerId="ADAL" clId="{9564C84F-EEC9-4D0B-BE2E-5C2C7606A7F7}" dt="2024-07-08T14:36:29.627" v="2170" actId="14100"/>
          <ac:spMkLst>
            <pc:docMk/>
            <pc:sldMk cId="4038880755" sldId="754"/>
            <ac:spMk id="10" creationId="{F8251304-71BA-DB4B-935B-6BA8C2444400}"/>
          </ac:spMkLst>
        </pc:spChg>
      </pc:sldChg>
      <pc:sldChg chg="modSp add mod ord">
        <pc:chgData name="Albie Melia  (EU Projects &amp; Communication Specialist)" userId="2d1a2eb5-dfb4-4d11-8423-60408b1fc395" providerId="ADAL" clId="{9564C84F-EEC9-4D0B-BE2E-5C2C7606A7F7}" dt="2024-07-08T14:42:07.342" v="2207" actId="113"/>
        <pc:sldMkLst>
          <pc:docMk/>
          <pc:sldMk cId="1179892946" sldId="755"/>
        </pc:sldMkLst>
        <pc:spChg chg="mod">
          <ac:chgData name="Albie Melia  (EU Projects &amp; Communication Specialist)" userId="2d1a2eb5-dfb4-4d11-8423-60408b1fc395" providerId="ADAL" clId="{9564C84F-EEC9-4D0B-BE2E-5C2C7606A7F7}" dt="2024-07-08T14:42:07.342" v="2207" actId="113"/>
          <ac:spMkLst>
            <pc:docMk/>
            <pc:sldMk cId="1179892946" sldId="755"/>
            <ac:spMk id="4" creationId="{AC5590B2-EE46-F20E-DF5F-E553FF92DECB}"/>
          </ac:spMkLst>
        </pc:spChg>
      </pc:sldChg>
      <pc:sldChg chg="addSp modSp add mod ord">
        <pc:chgData name="Albie Melia  (EU Projects &amp; Communication Specialist)" userId="2d1a2eb5-dfb4-4d11-8423-60408b1fc395" providerId="ADAL" clId="{9564C84F-EEC9-4D0B-BE2E-5C2C7606A7F7}" dt="2024-07-08T14:50:06.404" v="2229" actId="20577"/>
        <pc:sldMkLst>
          <pc:docMk/>
          <pc:sldMk cId="409076699" sldId="756"/>
        </pc:sldMkLst>
        <pc:spChg chg="mod">
          <ac:chgData name="Albie Melia  (EU Projects &amp; Communication Specialist)" userId="2d1a2eb5-dfb4-4d11-8423-60408b1fc395" providerId="ADAL" clId="{9564C84F-EEC9-4D0B-BE2E-5C2C7606A7F7}" dt="2024-07-08T14:50:06.404" v="2229" actId="20577"/>
          <ac:spMkLst>
            <pc:docMk/>
            <pc:sldMk cId="409076699" sldId="756"/>
            <ac:spMk id="2" creationId="{8FA217D6-4AA2-CB4D-9D63-D41980307DD7}"/>
          </ac:spMkLst>
        </pc:spChg>
        <pc:spChg chg="mod">
          <ac:chgData name="Albie Melia  (EU Projects &amp; Communication Specialist)" userId="2d1a2eb5-dfb4-4d11-8423-60408b1fc395" providerId="ADAL" clId="{9564C84F-EEC9-4D0B-BE2E-5C2C7606A7F7}" dt="2024-07-08T14:49:56.178" v="2228" actId="20577"/>
          <ac:spMkLst>
            <pc:docMk/>
            <pc:sldMk cId="409076699" sldId="756"/>
            <ac:spMk id="3" creationId="{35AC186C-5DE3-6542-A610-70101C6B0F93}"/>
          </ac:spMkLst>
        </pc:spChg>
        <pc:spChg chg="add">
          <ac:chgData name="Albie Melia  (EU Projects &amp; Communication Specialist)" userId="2d1a2eb5-dfb4-4d11-8423-60408b1fc395" providerId="ADAL" clId="{9564C84F-EEC9-4D0B-BE2E-5C2C7606A7F7}" dt="2024-07-08T14:49:26.293" v="2212"/>
          <ac:spMkLst>
            <pc:docMk/>
            <pc:sldMk cId="409076699" sldId="756"/>
            <ac:spMk id="4" creationId="{4532A700-473B-C8EE-0297-AF5EC39A3C8B}"/>
          </ac:spMkLst>
        </pc:spChg>
      </pc:sldChg>
      <pc:sldChg chg="addSp modSp add mod">
        <pc:chgData name="Albie Melia  (EU Projects &amp; Communication Specialist)" userId="2d1a2eb5-dfb4-4d11-8423-60408b1fc395" providerId="ADAL" clId="{9564C84F-EEC9-4D0B-BE2E-5C2C7606A7F7}" dt="2024-07-08T14:50:50.453" v="2256" actId="14100"/>
        <pc:sldMkLst>
          <pc:docMk/>
          <pc:sldMk cId="122274226" sldId="757"/>
        </pc:sldMkLst>
        <pc:spChg chg="mod">
          <ac:chgData name="Albie Melia  (EU Projects &amp; Communication Specialist)" userId="2d1a2eb5-dfb4-4d11-8423-60408b1fc395" providerId="ADAL" clId="{9564C84F-EEC9-4D0B-BE2E-5C2C7606A7F7}" dt="2024-07-08T14:50:16.949" v="2247" actId="20577"/>
          <ac:spMkLst>
            <pc:docMk/>
            <pc:sldMk cId="122274226" sldId="757"/>
            <ac:spMk id="2" creationId="{8FA217D6-4AA2-CB4D-9D63-D41980307DD7}"/>
          </ac:spMkLst>
        </pc:spChg>
        <pc:spChg chg="mod">
          <ac:chgData name="Albie Melia  (EU Projects &amp; Communication Specialist)" userId="2d1a2eb5-dfb4-4d11-8423-60408b1fc395" providerId="ADAL" clId="{9564C84F-EEC9-4D0B-BE2E-5C2C7606A7F7}" dt="2024-07-08T14:50:50.453" v="2256" actId="14100"/>
          <ac:spMkLst>
            <pc:docMk/>
            <pc:sldMk cId="122274226" sldId="757"/>
            <ac:spMk id="3" creationId="{35AC186C-5DE3-6542-A610-70101C6B0F93}"/>
          </ac:spMkLst>
        </pc:spChg>
        <pc:spChg chg="add">
          <ac:chgData name="Albie Melia  (EU Projects &amp; Communication Specialist)" userId="2d1a2eb5-dfb4-4d11-8423-60408b1fc395" providerId="ADAL" clId="{9564C84F-EEC9-4D0B-BE2E-5C2C7606A7F7}" dt="2024-07-08T14:50:33.432" v="2248"/>
          <ac:spMkLst>
            <pc:docMk/>
            <pc:sldMk cId="122274226" sldId="757"/>
            <ac:spMk id="4" creationId="{7D45CB5F-FBD4-3F00-866D-EC2A3825B552}"/>
          </ac:spMkLst>
        </pc:spChg>
      </pc:sldChg>
      <pc:sldChg chg="modSp add mod ord">
        <pc:chgData name="Albie Melia  (EU Projects &amp; Communication Specialist)" userId="2d1a2eb5-dfb4-4d11-8423-60408b1fc395" providerId="ADAL" clId="{9564C84F-EEC9-4D0B-BE2E-5C2C7606A7F7}" dt="2024-07-08T14:57:11.486" v="2260" actId="20577"/>
        <pc:sldMkLst>
          <pc:docMk/>
          <pc:sldMk cId="2920028356" sldId="758"/>
        </pc:sldMkLst>
        <pc:spChg chg="mod">
          <ac:chgData name="Albie Melia  (EU Projects &amp; Communication Specialist)" userId="2d1a2eb5-dfb4-4d11-8423-60408b1fc395" providerId="ADAL" clId="{9564C84F-EEC9-4D0B-BE2E-5C2C7606A7F7}" dt="2024-07-08T14:57:11.486" v="2260" actId="20577"/>
          <ac:spMkLst>
            <pc:docMk/>
            <pc:sldMk cId="2920028356" sldId="758"/>
            <ac:spMk id="4" creationId="{03217DE6-3467-0A26-1950-9C5913DF9B0A}"/>
          </ac:spMkLst>
        </pc:spChg>
      </pc:sldChg>
    </pc:docChg>
  </pc:docChgLst>
  <pc:docChgLst>
    <pc:chgData name="Albie Melia  (EU Projects &amp; Communication Specialist)" userId="2d1a2eb5-dfb4-4d11-8423-60408b1fc395" providerId="ADAL" clId="{11847E8E-05F3-4982-8A00-CFA90A409DDA}"/>
    <pc:docChg chg="custSel addSld delSld modSld">
      <pc:chgData name="Albie Melia  (EU Projects &amp; Communication Specialist)" userId="2d1a2eb5-dfb4-4d11-8423-60408b1fc395" providerId="ADAL" clId="{11847E8E-05F3-4982-8A00-CFA90A409DDA}" dt="2024-08-23T14:59:59.296" v="182" actId="478"/>
      <pc:docMkLst>
        <pc:docMk/>
      </pc:docMkLst>
      <pc:sldChg chg="delSp mod">
        <pc:chgData name="Albie Melia  (EU Projects &amp; Communication Specialist)" userId="2d1a2eb5-dfb4-4d11-8423-60408b1fc395" providerId="ADAL" clId="{11847E8E-05F3-4982-8A00-CFA90A409DDA}" dt="2024-08-23T14:59:59.296" v="182" actId="478"/>
        <pc:sldMkLst>
          <pc:docMk/>
          <pc:sldMk cId="2556255374" sldId="692"/>
        </pc:sldMkLst>
        <pc:spChg chg="del">
          <ac:chgData name="Albie Melia  (EU Projects &amp; Communication Specialist)" userId="2d1a2eb5-dfb4-4d11-8423-60408b1fc395" providerId="ADAL" clId="{11847E8E-05F3-4982-8A00-CFA90A409DDA}" dt="2024-08-23T14:59:55.830" v="180" actId="478"/>
          <ac:spMkLst>
            <pc:docMk/>
            <pc:sldMk cId="2556255374" sldId="692"/>
            <ac:spMk id="25" creationId="{A9193224-6807-444D-7249-8F61F5BCFC57}"/>
          </ac:spMkLst>
        </pc:spChg>
        <pc:spChg chg="del">
          <ac:chgData name="Albie Melia  (EU Projects &amp; Communication Specialist)" userId="2d1a2eb5-dfb4-4d11-8423-60408b1fc395" providerId="ADAL" clId="{11847E8E-05F3-4982-8A00-CFA90A409DDA}" dt="2024-08-23T14:59:59.296" v="182" actId="478"/>
          <ac:spMkLst>
            <pc:docMk/>
            <pc:sldMk cId="2556255374" sldId="692"/>
            <ac:spMk id="27" creationId="{6C544FD8-31D8-F6BE-61AC-FF8DE19E2143}"/>
          </ac:spMkLst>
        </pc:spChg>
        <pc:spChg chg="del">
          <ac:chgData name="Albie Melia  (EU Projects &amp; Communication Specialist)" userId="2d1a2eb5-dfb4-4d11-8423-60408b1fc395" providerId="ADAL" clId="{11847E8E-05F3-4982-8A00-CFA90A409DDA}" dt="2024-08-23T14:59:52.808" v="179" actId="478"/>
          <ac:spMkLst>
            <pc:docMk/>
            <pc:sldMk cId="2556255374" sldId="692"/>
            <ac:spMk id="28" creationId="{1ADF4414-1C17-3249-A86E-8EA6D3E38A10}"/>
          </ac:spMkLst>
        </pc:spChg>
        <pc:spChg chg="del">
          <ac:chgData name="Albie Melia  (EU Projects &amp; Communication Specialist)" userId="2d1a2eb5-dfb4-4d11-8423-60408b1fc395" providerId="ADAL" clId="{11847E8E-05F3-4982-8A00-CFA90A409DDA}" dt="2024-08-23T14:59:57.737" v="181" actId="478"/>
          <ac:spMkLst>
            <pc:docMk/>
            <pc:sldMk cId="2556255374" sldId="692"/>
            <ac:spMk id="29" creationId="{58E61610-6FBA-132E-4EE4-31DE5BD4CB36}"/>
          </ac:spMkLst>
        </pc:spChg>
        <pc:spChg chg="del">
          <ac:chgData name="Albie Melia  (EU Projects &amp; Communication Specialist)" userId="2d1a2eb5-dfb4-4d11-8423-60408b1fc395" providerId="ADAL" clId="{11847E8E-05F3-4982-8A00-CFA90A409DDA}" dt="2024-08-23T14:59:50.757" v="178" actId="478"/>
          <ac:spMkLst>
            <pc:docMk/>
            <pc:sldMk cId="2556255374" sldId="692"/>
            <ac:spMk id="34" creationId="{39E5341B-3B67-CBE4-63AB-DE5AC6353FFA}"/>
          </ac:spMkLst>
        </pc:spChg>
        <pc:spChg chg="del">
          <ac:chgData name="Albie Melia  (EU Projects &amp; Communication Specialist)" userId="2d1a2eb5-dfb4-4d11-8423-60408b1fc395" providerId="ADAL" clId="{11847E8E-05F3-4982-8A00-CFA90A409DDA}" dt="2024-08-23T14:59:48.877" v="177" actId="478"/>
          <ac:spMkLst>
            <pc:docMk/>
            <pc:sldMk cId="2556255374" sldId="692"/>
            <ac:spMk id="35" creationId="{0A7C4A7B-F1B2-FBFB-77A7-2DABE98F5704}"/>
          </ac:spMkLst>
        </pc:spChg>
        <pc:grpChg chg="del">
          <ac:chgData name="Albie Melia  (EU Projects &amp; Communication Specialist)" userId="2d1a2eb5-dfb4-4d11-8423-60408b1fc395" providerId="ADAL" clId="{11847E8E-05F3-4982-8A00-CFA90A409DDA}" dt="2024-08-23T14:59:55.830" v="180" actId="478"/>
          <ac:grpSpMkLst>
            <pc:docMk/>
            <pc:sldMk cId="2556255374" sldId="692"/>
            <ac:grpSpMk id="24" creationId="{FD47301D-3399-4421-3465-BF8A7A316DE5}"/>
          </ac:grpSpMkLst>
        </pc:grpChg>
        <pc:grpChg chg="del">
          <ac:chgData name="Albie Melia  (EU Projects &amp; Communication Specialist)" userId="2d1a2eb5-dfb4-4d11-8423-60408b1fc395" providerId="ADAL" clId="{11847E8E-05F3-4982-8A00-CFA90A409DDA}" dt="2024-08-23T14:59:57.737" v="181" actId="478"/>
          <ac:grpSpMkLst>
            <pc:docMk/>
            <pc:sldMk cId="2556255374" sldId="692"/>
            <ac:grpSpMk id="26" creationId="{5B922720-DC2C-2CF9-1A8F-0BCE629E2466}"/>
          </ac:grpSpMkLst>
        </pc:grpChg>
        <pc:grpChg chg="del">
          <ac:chgData name="Albie Melia  (EU Projects &amp; Communication Specialist)" userId="2d1a2eb5-dfb4-4d11-8423-60408b1fc395" providerId="ADAL" clId="{11847E8E-05F3-4982-8A00-CFA90A409DDA}" dt="2024-08-23T14:59:48.877" v="177" actId="478"/>
          <ac:grpSpMkLst>
            <pc:docMk/>
            <pc:sldMk cId="2556255374" sldId="692"/>
            <ac:grpSpMk id="33" creationId="{054FA110-E487-C892-299D-BFFBB8CB5C6B}"/>
          </ac:grpSpMkLst>
        </pc:grpChg>
      </pc:sldChg>
      <pc:sldChg chg="del">
        <pc:chgData name="Albie Melia  (EU Projects &amp; Communication Specialist)" userId="2d1a2eb5-dfb4-4d11-8423-60408b1fc395" providerId="ADAL" clId="{11847E8E-05F3-4982-8A00-CFA90A409DDA}" dt="2024-08-15T11:18:53.215" v="170" actId="47"/>
        <pc:sldMkLst>
          <pc:docMk/>
          <pc:sldMk cId="2920028356" sldId="758"/>
        </pc:sldMkLst>
      </pc:sldChg>
      <pc:sldChg chg="del">
        <pc:chgData name="Albie Melia  (EU Projects &amp; Communication Specialist)" userId="2d1a2eb5-dfb4-4d11-8423-60408b1fc395" providerId="ADAL" clId="{11847E8E-05F3-4982-8A00-CFA90A409DDA}" dt="2024-08-15T11:06:21.604" v="1" actId="47"/>
        <pc:sldMkLst>
          <pc:docMk/>
          <pc:sldMk cId="1363123338" sldId="782"/>
        </pc:sldMkLst>
      </pc:sldChg>
      <pc:sldChg chg="del">
        <pc:chgData name="Albie Melia  (EU Projects &amp; Communication Specialist)" userId="2d1a2eb5-dfb4-4d11-8423-60408b1fc395" providerId="ADAL" clId="{11847E8E-05F3-4982-8A00-CFA90A409DDA}" dt="2024-08-15T11:12:39.645" v="71" actId="47"/>
        <pc:sldMkLst>
          <pc:docMk/>
          <pc:sldMk cId="3554223211" sldId="783"/>
        </pc:sldMkLst>
      </pc:sldChg>
      <pc:sldChg chg="addSp delSp modSp add mod">
        <pc:chgData name="Albie Melia  (EU Projects &amp; Communication Specialist)" userId="2d1a2eb5-dfb4-4d11-8423-60408b1fc395" providerId="ADAL" clId="{11847E8E-05F3-4982-8A00-CFA90A409DDA}" dt="2024-08-15T14:24:14.012" v="171" actId="3626"/>
        <pc:sldMkLst>
          <pc:docMk/>
          <pc:sldMk cId="2844764096" sldId="789"/>
        </pc:sldMkLst>
        <pc:spChg chg="mod">
          <ac:chgData name="Albie Melia  (EU Projects &amp; Communication Specialist)" userId="2d1a2eb5-dfb4-4d11-8423-60408b1fc395" providerId="ADAL" clId="{11847E8E-05F3-4982-8A00-CFA90A409DDA}" dt="2024-08-15T11:10:01.798" v="54" actId="20577"/>
          <ac:spMkLst>
            <pc:docMk/>
            <pc:sldMk cId="2844764096" sldId="789"/>
            <ac:spMk id="3" creationId="{A69C84D3-DAB8-A256-725D-6358D9E3C675}"/>
          </ac:spMkLst>
        </pc:spChg>
        <pc:spChg chg="mod">
          <ac:chgData name="Albie Melia  (EU Projects &amp; Communication Specialist)" userId="2d1a2eb5-dfb4-4d11-8423-60408b1fc395" providerId="ADAL" clId="{11847E8E-05F3-4982-8A00-CFA90A409DDA}" dt="2024-08-15T14:24:14.012" v="171" actId="3626"/>
          <ac:spMkLst>
            <pc:docMk/>
            <pc:sldMk cId="2844764096" sldId="789"/>
            <ac:spMk id="4" creationId="{D763B87B-2E45-7F3C-D8C8-7BD1498202C7}"/>
          </ac:spMkLst>
        </pc:spChg>
        <pc:picChg chg="add mod">
          <ac:chgData name="Albie Melia  (EU Projects &amp; Communication Specialist)" userId="2d1a2eb5-dfb4-4d11-8423-60408b1fc395" providerId="ADAL" clId="{11847E8E-05F3-4982-8A00-CFA90A409DDA}" dt="2024-08-15T11:09:30.398" v="40" actId="1076"/>
          <ac:picMkLst>
            <pc:docMk/>
            <pc:sldMk cId="2844764096" sldId="789"/>
            <ac:picMk id="5" creationId="{97774220-F64F-4F6A-AD6A-CC9FCF68DEBE}"/>
          </ac:picMkLst>
        </pc:picChg>
        <pc:picChg chg="mod">
          <ac:chgData name="Albie Melia  (EU Projects &amp; Communication Specialist)" userId="2d1a2eb5-dfb4-4d11-8423-60408b1fc395" providerId="ADAL" clId="{11847E8E-05F3-4982-8A00-CFA90A409DDA}" dt="2024-08-15T11:06:51.483" v="2" actId="14826"/>
          <ac:picMkLst>
            <pc:docMk/>
            <pc:sldMk cId="2844764096" sldId="789"/>
            <ac:picMk id="8" creationId="{8CE312B4-DCAE-B8BB-AAB4-FDD6740BF982}"/>
          </ac:picMkLst>
        </pc:picChg>
        <pc:picChg chg="del">
          <ac:chgData name="Albie Melia  (EU Projects &amp; Communication Specialist)" userId="2d1a2eb5-dfb4-4d11-8423-60408b1fc395" providerId="ADAL" clId="{11847E8E-05F3-4982-8A00-CFA90A409DDA}" dt="2024-08-15T11:07:18.673" v="4" actId="478"/>
          <ac:picMkLst>
            <pc:docMk/>
            <pc:sldMk cId="2844764096" sldId="789"/>
            <ac:picMk id="10" creationId="{48C8855D-49C4-D7CF-EB42-1A15FCEEEE6A}"/>
          </ac:picMkLst>
        </pc:picChg>
      </pc:sldChg>
      <pc:sldChg chg="modSp add mod">
        <pc:chgData name="Albie Melia  (EU Projects &amp; Communication Specialist)" userId="2d1a2eb5-dfb4-4d11-8423-60408b1fc395" providerId="ADAL" clId="{11847E8E-05F3-4982-8A00-CFA90A409DDA}" dt="2024-08-15T14:24:30.095" v="176" actId="20577"/>
        <pc:sldMkLst>
          <pc:docMk/>
          <pc:sldMk cId="3376115242" sldId="790"/>
        </pc:sldMkLst>
        <pc:spChg chg="mod">
          <ac:chgData name="Albie Melia  (EU Projects &amp; Communication Specialist)" userId="2d1a2eb5-dfb4-4d11-8423-60408b1fc395" providerId="ADAL" clId="{11847E8E-05F3-4982-8A00-CFA90A409DDA}" dt="2024-08-15T14:24:30.095" v="176" actId="20577"/>
          <ac:spMkLst>
            <pc:docMk/>
            <pc:sldMk cId="3376115242" sldId="790"/>
            <ac:spMk id="4" creationId="{722C3960-840E-3973-FCD8-4ABF8E80BCA7}"/>
          </ac:spMkLst>
        </pc:spChg>
        <pc:picChg chg="mod">
          <ac:chgData name="Albie Melia  (EU Projects &amp; Communication Specialist)" userId="2d1a2eb5-dfb4-4d11-8423-60408b1fc395" providerId="ADAL" clId="{11847E8E-05F3-4982-8A00-CFA90A409DDA}" dt="2024-08-15T11:06:59.328" v="3" actId="14826"/>
          <ac:picMkLst>
            <pc:docMk/>
            <pc:sldMk cId="3376115242" sldId="790"/>
            <ac:picMk id="6" creationId="{C31853AF-79E4-8C3D-9047-8EB9C6DA145E}"/>
          </ac:picMkLst>
        </pc:picChg>
      </pc:sldChg>
      <pc:sldChg chg="addSp delSp modSp add mod">
        <pc:chgData name="Albie Melia  (EU Projects &amp; Communication Specialist)" userId="2d1a2eb5-dfb4-4d11-8423-60408b1fc395" providerId="ADAL" clId="{11847E8E-05F3-4982-8A00-CFA90A409DDA}" dt="2024-08-15T11:17:49.663" v="167" actId="14826"/>
        <pc:sldMkLst>
          <pc:docMk/>
          <pc:sldMk cId="2652967768" sldId="791"/>
        </pc:sldMkLst>
        <pc:spChg chg="mod">
          <ac:chgData name="Albie Melia  (EU Projects &amp; Communication Specialist)" userId="2d1a2eb5-dfb4-4d11-8423-60408b1fc395" providerId="ADAL" clId="{11847E8E-05F3-4982-8A00-CFA90A409DDA}" dt="2024-08-15T11:12:58.930" v="84" actId="20577"/>
          <ac:spMkLst>
            <pc:docMk/>
            <pc:sldMk cId="2652967768" sldId="791"/>
            <ac:spMk id="3" creationId="{A69C84D3-DAB8-A256-725D-6358D9E3C675}"/>
          </ac:spMkLst>
        </pc:spChg>
        <pc:spChg chg="mod">
          <ac:chgData name="Albie Melia  (EU Projects &amp; Communication Specialist)" userId="2d1a2eb5-dfb4-4d11-8423-60408b1fc395" providerId="ADAL" clId="{11847E8E-05F3-4982-8A00-CFA90A409DDA}" dt="2024-08-15T11:15:05.685" v="95" actId="207"/>
          <ac:spMkLst>
            <pc:docMk/>
            <pc:sldMk cId="2652967768" sldId="791"/>
            <ac:spMk id="4" creationId="{D763B87B-2E45-7F3C-D8C8-7BD1498202C7}"/>
          </ac:spMkLst>
        </pc:spChg>
        <pc:picChg chg="del">
          <ac:chgData name="Albie Melia  (EU Projects &amp; Communication Specialist)" userId="2d1a2eb5-dfb4-4d11-8423-60408b1fc395" providerId="ADAL" clId="{11847E8E-05F3-4982-8A00-CFA90A409DDA}" dt="2024-08-15T11:12:52.811" v="73" actId="478"/>
          <ac:picMkLst>
            <pc:docMk/>
            <pc:sldMk cId="2652967768" sldId="791"/>
            <ac:picMk id="5" creationId="{97774220-F64F-4F6A-AD6A-CC9FCF68DEBE}"/>
          </ac:picMkLst>
        </pc:picChg>
        <pc:picChg chg="add mod">
          <ac:chgData name="Albie Melia  (EU Projects &amp; Communication Specialist)" userId="2d1a2eb5-dfb4-4d11-8423-60408b1fc395" providerId="ADAL" clId="{11847E8E-05F3-4982-8A00-CFA90A409DDA}" dt="2024-08-15T11:16:06.939" v="99" actId="1076"/>
          <ac:picMkLst>
            <pc:docMk/>
            <pc:sldMk cId="2652967768" sldId="791"/>
            <ac:picMk id="6" creationId="{7201AECC-E582-07E8-D078-6706E490A892}"/>
          </ac:picMkLst>
        </pc:picChg>
        <pc:picChg chg="mod">
          <ac:chgData name="Albie Melia  (EU Projects &amp; Communication Specialist)" userId="2d1a2eb5-dfb4-4d11-8423-60408b1fc395" providerId="ADAL" clId="{11847E8E-05F3-4982-8A00-CFA90A409DDA}" dt="2024-08-15T11:17:49.663" v="167" actId="14826"/>
          <ac:picMkLst>
            <pc:docMk/>
            <pc:sldMk cId="2652967768" sldId="791"/>
            <ac:picMk id="8" creationId="{8CE312B4-DCAE-B8BB-AAB4-FDD6740BF982}"/>
          </ac:picMkLst>
        </pc:picChg>
      </pc:sldChg>
      <pc:sldChg chg="addSp delSp modSp add mod">
        <pc:chgData name="Albie Melia  (EU Projects &amp; Communication Specialist)" userId="2d1a2eb5-dfb4-4d11-8423-60408b1fc395" providerId="ADAL" clId="{11847E8E-05F3-4982-8A00-CFA90A409DDA}" dt="2024-08-15T11:18:30.867" v="169" actId="18131"/>
        <pc:sldMkLst>
          <pc:docMk/>
          <pc:sldMk cId="250681095" sldId="792"/>
        </pc:sldMkLst>
        <pc:spChg chg="mod">
          <ac:chgData name="Albie Melia  (EU Projects &amp; Communication Specialist)" userId="2d1a2eb5-dfb4-4d11-8423-60408b1fc395" providerId="ADAL" clId="{11847E8E-05F3-4982-8A00-CFA90A409DDA}" dt="2024-08-15T11:16:38.863" v="162" actId="6549"/>
          <ac:spMkLst>
            <pc:docMk/>
            <pc:sldMk cId="250681095" sldId="792"/>
            <ac:spMk id="4" creationId="{722C3960-840E-3973-FCD8-4ABF8E80BCA7}"/>
          </ac:spMkLst>
        </pc:spChg>
        <pc:picChg chg="add del">
          <ac:chgData name="Albie Melia  (EU Projects &amp; Communication Specialist)" userId="2d1a2eb5-dfb4-4d11-8423-60408b1fc395" providerId="ADAL" clId="{11847E8E-05F3-4982-8A00-CFA90A409DDA}" dt="2024-08-15T11:17:22.206" v="164" actId="478"/>
          <ac:picMkLst>
            <pc:docMk/>
            <pc:sldMk cId="250681095" sldId="792"/>
            <ac:picMk id="3" creationId="{7E61417E-4EED-2052-F7C5-0C57C7B953C8}"/>
          </ac:picMkLst>
        </pc:picChg>
        <pc:picChg chg="mod modCrop">
          <ac:chgData name="Albie Melia  (EU Projects &amp; Communication Specialist)" userId="2d1a2eb5-dfb4-4d11-8423-60408b1fc395" providerId="ADAL" clId="{11847E8E-05F3-4982-8A00-CFA90A409DDA}" dt="2024-08-15T11:18:30.867" v="169" actId="18131"/>
          <ac:picMkLst>
            <pc:docMk/>
            <pc:sldMk cId="250681095" sldId="792"/>
            <ac:picMk id="6" creationId="{C31853AF-79E4-8C3D-9047-8EB9C6DA145E}"/>
          </ac:picMkLst>
        </pc:picChg>
        <pc:picChg chg="add del">
          <ac:chgData name="Albie Melia  (EU Projects &amp; Communication Specialist)" userId="2d1a2eb5-dfb4-4d11-8423-60408b1fc395" providerId="ADAL" clId="{11847E8E-05F3-4982-8A00-CFA90A409DDA}" dt="2024-08-15T11:17:39.711" v="166" actId="478"/>
          <ac:picMkLst>
            <pc:docMk/>
            <pc:sldMk cId="250681095" sldId="792"/>
            <ac:picMk id="7" creationId="{FD17CBAB-64E6-CDF4-A6BD-FADD9E4B3791}"/>
          </ac:picMkLst>
        </pc:picChg>
      </pc:sldChg>
    </pc:docChg>
  </pc:docChgLst>
  <pc:docChgLst>
    <pc:chgData name="Albie Melia" userId="PL6+ZwU1G8M6P8tXbEzsKsPMSPdetLJGv39eU+o5G/g=" providerId="None" clId="Web-{35086EFB-A961-43C2-A219-853B8B984F91}"/>
    <pc:docChg chg="modSld">
      <pc:chgData name="Albie Melia" userId="PL6+ZwU1G8M6P8tXbEzsKsPMSPdetLJGv39eU+o5G/g=" providerId="None" clId="Web-{35086EFB-A961-43C2-A219-853B8B984F91}" dt="2024-11-15T09:28:36.663" v="6" actId="1076"/>
      <pc:docMkLst>
        <pc:docMk/>
      </pc:docMkLst>
      <pc:sldChg chg="addSp modSp">
        <pc:chgData name="Albie Melia" userId="PL6+ZwU1G8M6P8tXbEzsKsPMSPdetLJGv39eU+o5G/g=" providerId="None" clId="Web-{35086EFB-A961-43C2-A219-853B8B984F91}" dt="2024-11-15T09:28:36.663" v="6" actId="1076"/>
        <pc:sldMkLst>
          <pc:docMk/>
          <pc:sldMk cId="2866316880" sldId="693"/>
        </pc:sldMkLst>
        <pc:spChg chg="add mod">
          <ac:chgData name="Albie Melia" userId="PL6+ZwU1G8M6P8tXbEzsKsPMSPdetLJGv39eU+o5G/g=" providerId="None" clId="Web-{35086EFB-A961-43C2-A219-853B8B984F91}" dt="2024-11-15T09:28:36.663" v="6" actId="1076"/>
          <ac:spMkLst>
            <pc:docMk/>
            <pc:sldMk cId="2866316880" sldId="693"/>
            <ac:spMk id="2" creationId="{912CBA52-9586-E192-0B65-E51B3A647D2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7E7518-D7D3-A342-B9A1-57B91EA8AD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9238D92-CE55-1642-B171-5E9305F007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378577-8B88-EE4C-8516-6703E5E700B5}" type="datetimeFigureOut">
              <a:rPr lang="en-US" smtClean="0"/>
              <a:t>5/16/2025</a:t>
            </a:fld>
            <a:endParaRPr lang="en-US" dirty="0"/>
          </a:p>
        </p:txBody>
      </p:sp>
      <p:sp>
        <p:nvSpPr>
          <p:cNvPr id="4" name="Footer Placeholder 3">
            <a:extLst>
              <a:ext uri="{FF2B5EF4-FFF2-40B4-BE49-F238E27FC236}">
                <a16:creationId xmlns:a16="http://schemas.microsoft.com/office/drawing/2014/main" id="{294DC253-90BB-9447-B456-77404052F1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E73BA3A-C6D1-EB41-8906-A8CC76B3C0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09957D-E1A3-9D46-BB8D-8C509470EB58}" type="slidenum">
              <a:rPr lang="en-US" smtClean="0"/>
              <a:t>‹#›</a:t>
            </a:fld>
            <a:endParaRPr lang="en-US" dirty="0"/>
          </a:p>
        </p:txBody>
      </p:sp>
    </p:spTree>
    <p:extLst>
      <p:ext uri="{BB962C8B-B14F-4D97-AF65-F5344CB8AC3E}">
        <p14:creationId xmlns:p14="http://schemas.microsoft.com/office/powerpoint/2010/main" val="1528926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E1DF58-7EE3-C448-983E-EBFA8BC3FAB5}" type="datetimeFigureOut">
              <a:rPr lang="en-US" smtClean="0"/>
              <a:t>5/16/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stile bearbeiten</a:t>
            </a:r>
          </a:p>
          <a:p>
            <a:pPr lvl="1"/>
            <a:r>
              <a:rPr lang="en-US"/>
              <a:t>Zweite Ebene</a:t>
            </a:r>
          </a:p>
          <a:p>
            <a:pPr lvl="2"/>
            <a:r>
              <a:rPr lang="en-US"/>
              <a:t>Dritte Ebene</a:t>
            </a:r>
          </a:p>
          <a:p>
            <a:pPr lvl="3"/>
            <a:r>
              <a:rPr lang="en-US"/>
              <a:t>Vierte Ebene</a:t>
            </a:r>
          </a:p>
          <a:p>
            <a:pPr lvl="4"/>
            <a:r>
              <a:rPr lang="en-US"/>
              <a:t>Fünfte Ebene</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75372A-F483-BF4C-A311-87AB670BD6E8}" type="slidenum">
              <a:rPr lang="en-US" smtClean="0"/>
              <a:t>‹#›</a:t>
            </a:fld>
            <a:endParaRPr lang="en-US" dirty="0"/>
          </a:p>
        </p:txBody>
      </p:sp>
    </p:spTree>
    <p:extLst>
      <p:ext uri="{BB962C8B-B14F-4D97-AF65-F5344CB8AC3E}">
        <p14:creationId xmlns:p14="http://schemas.microsoft.com/office/powerpoint/2010/main" val="1810596504"/>
      </p:ext>
    </p:extLst>
  </p:cSld>
  <p:clrMap bg1="lt1" tx1="dk1" bg2="lt2" tx2="dk2" accent1="accent1" accent2="accent2" accent3="accent3" accent4="accent4" accent5="accent5" accent6="accent6" hlink="hlink" folHlink="folHlink"/>
  <p:hf sldNum="0" hdr="0" ftr="0" dt="0"/>
  <p:notesStyle>
    <a:lvl1pPr marL="0" algn="l" defTabSz="875998" rtl="0" eaLnBrk="1" latinLnBrk="0" hangingPunct="1">
      <a:defRPr sz="1150" kern="1200">
        <a:solidFill>
          <a:schemeClr val="tx1"/>
        </a:solidFill>
        <a:latin typeface="+mn-lt"/>
        <a:ea typeface="+mn-ea"/>
        <a:cs typeface="+mn-cs"/>
      </a:defRPr>
    </a:lvl1pPr>
    <a:lvl2pPr marL="437999" algn="l" defTabSz="875998" rtl="0" eaLnBrk="1" latinLnBrk="0" hangingPunct="1">
      <a:defRPr sz="1150" kern="1200">
        <a:solidFill>
          <a:schemeClr val="tx1"/>
        </a:solidFill>
        <a:latin typeface="+mn-lt"/>
        <a:ea typeface="+mn-ea"/>
        <a:cs typeface="+mn-cs"/>
      </a:defRPr>
    </a:lvl2pPr>
    <a:lvl3pPr marL="875998" algn="l" defTabSz="875998" rtl="0" eaLnBrk="1" latinLnBrk="0" hangingPunct="1">
      <a:defRPr sz="1150" kern="1200">
        <a:solidFill>
          <a:schemeClr val="tx1"/>
        </a:solidFill>
        <a:latin typeface="+mn-lt"/>
        <a:ea typeface="+mn-ea"/>
        <a:cs typeface="+mn-cs"/>
      </a:defRPr>
    </a:lvl3pPr>
    <a:lvl4pPr marL="1313997" algn="l" defTabSz="875998" rtl="0" eaLnBrk="1" latinLnBrk="0" hangingPunct="1">
      <a:defRPr sz="1150" kern="1200">
        <a:solidFill>
          <a:schemeClr val="tx1"/>
        </a:solidFill>
        <a:latin typeface="+mn-lt"/>
        <a:ea typeface="+mn-ea"/>
        <a:cs typeface="+mn-cs"/>
      </a:defRPr>
    </a:lvl4pPr>
    <a:lvl5pPr marL="1751996" algn="l" defTabSz="875998" rtl="0" eaLnBrk="1" latinLnBrk="0" hangingPunct="1">
      <a:defRPr sz="1150" kern="1200">
        <a:solidFill>
          <a:schemeClr val="tx1"/>
        </a:solidFill>
        <a:latin typeface="+mn-lt"/>
        <a:ea typeface="+mn-ea"/>
        <a:cs typeface="+mn-cs"/>
      </a:defRPr>
    </a:lvl5pPr>
    <a:lvl6pPr marL="2189995" algn="l" defTabSz="875998" rtl="0" eaLnBrk="1" latinLnBrk="0" hangingPunct="1">
      <a:defRPr sz="1150" kern="1200">
        <a:solidFill>
          <a:schemeClr val="tx1"/>
        </a:solidFill>
        <a:latin typeface="+mn-lt"/>
        <a:ea typeface="+mn-ea"/>
        <a:cs typeface="+mn-cs"/>
      </a:defRPr>
    </a:lvl6pPr>
    <a:lvl7pPr marL="2627995" algn="l" defTabSz="875998" rtl="0" eaLnBrk="1" latinLnBrk="0" hangingPunct="1">
      <a:defRPr sz="1150" kern="1200">
        <a:solidFill>
          <a:schemeClr val="tx1"/>
        </a:solidFill>
        <a:latin typeface="+mn-lt"/>
        <a:ea typeface="+mn-ea"/>
        <a:cs typeface="+mn-cs"/>
      </a:defRPr>
    </a:lvl7pPr>
    <a:lvl8pPr marL="3065994" algn="l" defTabSz="875998" rtl="0" eaLnBrk="1" latinLnBrk="0" hangingPunct="1">
      <a:defRPr sz="1150" kern="1200">
        <a:solidFill>
          <a:schemeClr val="tx1"/>
        </a:solidFill>
        <a:latin typeface="+mn-lt"/>
        <a:ea typeface="+mn-ea"/>
        <a:cs typeface="+mn-cs"/>
      </a:defRPr>
    </a:lvl8pPr>
    <a:lvl9pPr marL="3503992" algn="l" defTabSz="875998" rtl="0" eaLnBrk="1" latinLnBrk="0" hangingPunct="1">
      <a:defRPr sz="1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807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051133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176467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837835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8113481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685324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620837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85620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01">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2493589-430F-B785-BC26-0C4DA22CEB55}"/>
              </a:ext>
            </a:extLst>
          </p:cNvPr>
          <p:cNvSpPr/>
          <p:nvPr userDrawn="1"/>
        </p:nvSpPr>
        <p:spPr>
          <a:xfrm>
            <a:off x="894621" y="3354"/>
            <a:ext cx="4052477" cy="389345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1" name="Freeform 10">
            <a:extLst>
              <a:ext uri="{FF2B5EF4-FFF2-40B4-BE49-F238E27FC236}">
                <a16:creationId xmlns:a16="http://schemas.microsoft.com/office/drawing/2014/main" id="{0121DBA3-08D2-1337-EDEB-01D14E7869BC}"/>
              </a:ext>
            </a:extLst>
          </p:cNvPr>
          <p:cNvSpPr/>
          <p:nvPr userDrawn="1"/>
        </p:nvSpPr>
        <p:spPr>
          <a:xfrm>
            <a:off x="8058541" y="4455275"/>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163" name="Picture Placeholder 166">
            <a:extLst>
              <a:ext uri="{FF2B5EF4-FFF2-40B4-BE49-F238E27FC236}">
                <a16:creationId xmlns:a16="http://schemas.microsoft.com/office/drawing/2014/main" id="{8576E01D-F3B8-44FF-FE85-6D11D63B2D77}"/>
              </a:ext>
            </a:extLst>
          </p:cNvPr>
          <p:cNvSpPr>
            <a:spLocks noGrp="1"/>
          </p:cNvSpPr>
          <p:nvPr>
            <p:ph type="pic" sz="quarter" idx="44"/>
          </p:nvPr>
        </p:nvSpPr>
        <p:spPr>
          <a:xfrm>
            <a:off x="446723" y="3355"/>
            <a:ext cx="11251935" cy="4624906"/>
          </a:xfrm>
          <a:custGeom>
            <a:avLst/>
            <a:gdLst>
              <a:gd name="connsiteX0" fmla="*/ 0 w 11251935"/>
              <a:gd name="connsiteY0" fmla="*/ 0 h 4624906"/>
              <a:gd name="connsiteX1" fmla="*/ 447898 w 11251935"/>
              <a:gd name="connsiteY1" fmla="*/ 0 h 4624906"/>
              <a:gd name="connsiteX2" fmla="*/ 447898 w 11251935"/>
              <a:gd name="connsiteY2" fmla="*/ 3893455 h 4624906"/>
              <a:gd name="connsiteX3" fmla="*/ 4500376 w 11251935"/>
              <a:gd name="connsiteY3" fmla="*/ 3893455 h 4624906"/>
              <a:gd name="connsiteX4" fmla="*/ 4500376 w 11251935"/>
              <a:gd name="connsiteY4" fmla="*/ 0 h 4624906"/>
              <a:gd name="connsiteX5" fmla="*/ 11251935 w 11251935"/>
              <a:gd name="connsiteY5" fmla="*/ 0 h 4624906"/>
              <a:gd name="connsiteX6" fmla="*/ 11251935 w 11251935"/>
              <a:gd name="connsiteY6" fmla="*/ 4451920 h 4624906"/>
              <a:gd name="connsiteX7" fmla="*/ 7611818 w 11251935"/>
              <a:gd name="connsiteY7" fmla="*/ 4451920 h 4624906"/>
              <a:gd name="connsiteX8" fmla="*/ 7611818 w 11251935"/>
              <a:gd name="connsiteY8" fmla="*/ 4624906 h 4624906"/>
              <a:gd name="connsiteX9" fmla="*/ 0 w 11251935"/>
              <a:gd name="connsiteY9" fmla="*/ 4624906 h 462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935" h="4624906">
                <a:moveTo>
                  <a:pt x="0" y="0"/>
                </a:moveTo>
                <a:lnTo>
                  <a:pt x="447898" y="0"/>
                </a:lnTo>
                <a:lnTo>
                  <a:pt x="447898" y="3893455"/>
                </a:lnTo>
                <a:lnTo>
                  <a:pt x="4500376" y="3893455"/>
                </a:lnTo>
                <a:lnTo>
                  <a:pt x="4500376" y="0"/>
                </a:lnTo>
                <a:lnTo>
                  <a:pt x="11251935" y="0"/>
                </a:lnTo>
                <a:lnTo>
                  <a:pt x="11251935" y="4451920"/>
                </a:lnTo>
                <a:lnTo>
                  <a:pt x="7611818" y="4451920"/>
                </a:lnTo>
                <a:lnTo>
                  <a:pt x="7611818" y="4624906"/>
                </a:lnTo>
                <a:lnTo>
                  <a:pt x="0" y="4624906"/>
                </a:lnTo>
                <a:close/>
              </a:path>
            </a:pathLst>
          </a:custGeom>
          <a:solidFill>
            <a:schemeClr val="bg1">
              <a:lumMod val="95000"/>
            </a:schemeClr>
          </a:solidFill>
        </p:spPr>
        <p:txBody>
          <a:bodyPr wrap="square" anchor="ctr">
            <a:noAutofit/>
          </a:bodyPr>
          <a:lstStyle>
            <a:lvl1pPr marL="0" indent="0" algn="ctr">
              <a:buNone/>
              <a:defRPr sz="800">
                <a:solidFill>
                  <a:schemeClr val="bg1"/>
                </a:solidFill>
                <a:latin typeface="Calibri" panose="020F0502020204030204" pitchFamily="34" charset="0"/>
                <a:cs typeface="Calibri" panose="020F0502020204030204" pitchFamily="34" charset="0"/>
              </a:defRPr>
            </a:lvl1pPr>
          </a:lstStyle>
          <a:p>
            <a:endParaRPr lang="en-US" dirty="0"/>
          </a:p>
        </p:txBody>
      </p:sp>
      <p:sp>
        <p:nvSpPr>
          <p:cNvPr id="164" name="Text Placeholder 32">
            <a:extLst>
              <a:ext uri="{FF2B5EF4-FFF2-40B4-BE49-F238E27FC236}">
                <a16:creationId xmlns:a16="http://schemas.microsoft.com/office/drawing/2014/main" id="{D873B4E1-BB2E-A4A5-029F-705A8A4C5835}"/>
              </a:ext>
            </a:extLst>
          </p:cNvPr>
          <p:cNvSpPr>
            <a:spLocks noGrp="1"/>
          </p:cNvSpPr>
          <p:nvPr>
            <p:ph type="body" sz="quarter" idx="16" hasCustomPrompt="1"/>
          </p:nvPr>
        </p:nvSpPr>
        <p:spPr>
          <a:xfrm>
            <a:off x="1148454" y="1582704"/>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Teach Digital</a:t>
            </a:r>
            <a:endParaRPr lang="en-US" dirty="0"/>
          </a:p>
        </p:txBody>
      </p:sp>
      <p:sp>
        <p:nvSpPr>
          <p:cNvPr id="165" name="Text Placeholder 32">
            <a:extLst>
              <a:ext uri="{FF2B5EF4-FFF2-40B4-BE49-F238E27FC236}">
                <a16:creationId xmlns:a16="http://schemas.microsoft.com/office/drawing/2014/main" id="{F19478BD-F969-6302-9A72-BF3E6ECE4F6E}"/>
              </a:ext>
            </a:extLst>
          </p:cNvPr>
          <p:cNvSpPr>
            <a:spLocks noGrp="1"/>
          </p:cNvSpPr>
          <p:nvPr>
            <p:ph type="body" sz="quarter" idx="19" hasCustomPrompt="1"/>
          </p:nvPr>
        </p:nvSpPr>
        <p:spPr>
          <a:xfrm>
            <a:off x="1190579" y="892241"/>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166" name="Group 165">
            <a:extLst>
              <a:ext uri="{FF2B5EF4-FFF2-40B4-BE49-F238E27FC236}">
                <a16:creationId xmlns:a16="http://schemas.microsoft.com/office/drawing/2014/main" id="{2E4788F7-99D7-85BC-5AD1-DA1225E1B491}"/>
              </a:ext>
            </a:extLst>
          </p:cNvPr>
          <p:cNvGrpSpPr/>
          <p:nvPr userDrawn="1"/>
        </p:nvGrpSpPr>
        <p:grpSpPr>
          <a:xfrm>
            <a:off x="9333752" y="5720940"/>
            <a:ext cx="2471731" cy="613729"/>
            <a:chOff x="0" y="0"/>
            <a:chExt cx="2301694" cy="571500"/>
          </a:xfrm>
        </p:grpSpPr>
        <p:sp>
          <p:nvSpPr>
            <p:cNvPr id="167" name="Rectangle 166">
              <a:extLst>
                <a:ext uri="{FF2B5EF4-FFF2-40B4-BE49-F238E27FC236}">
                  <a16:creationId xmlns:a16="http://schemas.microsoft.com/office/drawing/2014/main" id="{F8218784-1DCA-E334-CD2A-CDF24C656E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68" name="Picture 167">
              <a:extLst>
                <a:ext uri="{FF2B5EF4-FFF2-40B4-BE49-F238E27FC236}">
                  <a16:creationId xmlns:a16="http://schemas.microsoft.com/office/drawing/2014/main" id="{123C7833-E4B5-2FA7-9F14-F11A62842E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169" name="Text Placeholder 23">
            <a:extLst>
              <a:ext uri="{FF2B5EF4-FFF2-40B4-BE49-F238E27FC236}">
                <a16:creationId xmlns:a16="http://schemas.microsoft.com/office/drawing/2014/main" id="{006CB6A6-08BD-0663-44FE-4284A729F169}"/>
              </a:ext>
            </a:extLst>
          </p:cNvPr>
          <p:cNvSpPr>
            <a:spLocks noGrp="1"/>
          </p:cNvSpPr>
          <p:nvPr>
            <p:ph type="body" sz="quarter" idx="45" hasCustomPrompt="1"/>
          </p:nvPr>
        </p:nvSpPr>
        <p:spPr>
          <a:xfrm>
            <a:off x="8058541" y="4502526"/>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170" name="Graphic 169">
            <a:extLst>
              <a:ext uri="{FF2B5EF4-FFF2-40B4-BE49-F238E27FC236}">
                <a16:creationId xmlns:a16="http://schemas.microsoft.com/office/drawing/2014/main" id="{F00D2B51-D8DE-CEB2-F866-1C8AC41EA2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5016" y="4266900"/>
            <a:ext cx="5331686" cy="2701388"/>
          </a:xfrm>
          <a:prstGeom prst="rect">
            <a:avLst/>
          </a:prstGeom>
        </p:spPr>
      </p:pic>
    </p:spTree>
    <p:extLst>
      <p:ext uri="{BB962C8B-B14F-4D97-AF65-F5344CB8AC3E}">
        <p14:creationId xmlns:p14="http://schemas.microsoft.com/office/powerpoint/2010/main" val="28838065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0" y="0"/>
            <a:ext cx="4615543"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5268686" y="993256"/>
            <a:ext cx="611063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5256505" y="2561474"/>
            <a:ext cx="6110631"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4437343"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27205516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7FAD2C0-DBDF-CC43-8DF5-5E7DB4F84012}"/>
              </a:ext>
            </a:extLst>
          </p:cNvPr>
          <p:cNvSpPr/>
          <p:nvPr userDrawn="1"/>
        </p:nvSpPr>
        <p:spPr bwMode="auto">
          <a:xfrm>
            <a:off x="2031599" y="304623"/>
            <a:ext cx="8128800" cy="4355963"/>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dirty="0"/>
          </a:p>
        </p:txBody>
      </p:sp>
      <p:sp>
        <p:nvSpPr>
          <p:cNvPr id="19" name="Picture Placeholder 18">
            <a:extLst>
              <a:ext uri="{FF2B5EF4-FFF2-40B4-BE49-F238E27FC236}">
                <a16:creationId xmlns:a16="http://schemas.microsoft.com/office/drawing/2014/main" id="{98E42465-1BA7-D440-A53F-E8A7AD1B0B47}"/>
              </a:ext>
            </a:extLst>
          </p:cNvPr>
          <p:cNvSpPr>
            <a:spLocks noGrp="1"/>
          </p:cNvSpPr>
          <p:nvPr>
            <p:ph type="pic" sz="quarter" idx="21"/>
          </p:nvPr>
        </p:nvSpPr>
        <p:spPr>
          <a:xfrm>
            <a:off x="0" y="0"/>
            <a:ext cx="12192000" cy="6858000"/>
          </a:xfrm>
          <a:custGeom>
            <a:avLst/>
            <a:gdLst>
              <a:gd name="connsiteX0" fmla="*/ 0 w 12192000"/>
              <a:gd name="connsiteY0" fmla="*/ 0 h 6858000"/>
              <a:gd name="connsiteX1" fmla="*/ 2031600 w 12192000"/>
              <a:gd name="connsiteY1" fmla="*/ 0 h 6858000"/>
              <a:gd name="connsiteX2" fmla="*/ 2031600 w 12192000"/>
              <a:gd name="connsiteY2" fmla="*/ 304623 h 6858000"/>
              <a:gd name="connsiteX3" fmla="*/ 2031600 w 12192000"/>
              <a:gd name="connsiteY3" fmla="*/ 425819 h 6858000"/>
              <a:gd name="connsiteX4" fmla="*/ 2031600 w 12192000"/>
              <a:gd name="connsiteY4" fmla="*/ 4660586 h 6858000"/>
              <a:gd name="connsiteX5" fmla="*/ 10160400 w 12192000"/>
              <a:gd name="connsiteY5" fmla="*/ 4660586 h 6858000"/>
              <a:gd name="connsiteX6" fmla="*/ 10160400 w 12192000"/>
              <a:gd name="connsiteY6" fmla="*/ 425819 h 6858000"/>
              <a:gd name="connsiteX7" fmla="*/ 10160400 w 12192000"/>
              <a:gd name="connsiteY7" fmla="*/ 304623 h 6858000"/>
              <a:gd name="connsiteX8" fmla="*/ 1016040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2031600" y="0"/>
                </a:lnTo>
                <a:lnTo>
                  <a:pt x="2031600" y="304623"/>
                </a:lnTo>
                <a:lnTo>
                  <a:pt x="2031600" y="425819"/>
                </a:lnTo>
                <a:lnTo>
                  <a:pt x="2031600" y="4660586"/>
                </a:lnTo>
                <a:lnTo>
                  <a:pt x="10160400" y="4660586"/>
                </a:lnTo>
                <a:lnTo>
                  <a:pt x="10160400" y="425819"/>
                </a:lnTo>
                <a:lnTo>
                  <a:pt x="10160400" y="304623"/>
                </a:lnTo>
                <a:lnTo>
                  <a:pt x="10160400" y="0"/>
                </a:lnTo>
                <a:lnTo>
                  <a:pt x="12192000" y="0"/>
                </a:lnTo>
                <a:lnTo>
                  <a:pt x="12192000"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3" name="Text Placeholder 32">
            <a:extLst>
              <a:ext uri="{FF2B5EF4-FFF2-40B4-BE49-F238E27FC236}">
                <a16:creationId xmlns:a16="http://schemas.microsoft.com/office/drawing/2014/main" id="{3F020C69-ED5E-F94A-97D2-8608828E755F}"/>
              </a:ext>
            </a:extLst>
          </p:cNvPr>
          <p:cNvSpPr>
            <a:spLocks noGrp="1"/>
          </p:cNvSpPr>
          <p:nvPr>
            <p:ph type="body" sz="quarter" idx="30" hasCustomPrompt="1"/>
          </p:nvPr>
        </p:nvSpPr>
        <p:spPr>
          <a:xfrm>
            <a:off x="2363461" y="676344"/>
            <a:ext cx="7465079" cy="723352"/>
          </a:xfrm>
        </p:spPr>
        <p:txBody>
          <a:bodyPr>
            <a:noAutofit/>
          </a:bodyPr>
          <a:lstStyle>
            <a:lvl1pPr marL="0" indent="0" algn="ctr">
              <a:buNone/>
              <a:defRPr sz="3600" b="1" i="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4" name="Text Placeholder 32">
            <a:extLst>
              <a:ext uri="{FF2B5EF4-FFF2-40B4-BE49-F238E27FC236}">
                <a16:creationId xmlns:a16="http://schemas.microsoft.com/office/drawing/2014/main" id="{507FF297-8125-B740-A6B3-F1766B3775B1}"/>
              </a:ext>
            </a:extLst>
          </p:cNvPr>
          <p:cNvSpPr>
            <a:spLocks noGrp="1"/>
          </p:cNvSpPr>
          <p:nvPr>
            <p:ph type="body" sz="quarter" idx="48" hasCustomPrompt="1"/>
          </p:nvPr>
        </p:nvSpPr>
        <p:spPr>
          <a:xfrm>
            <a:off x="2363461" y="1694964"/>
            <a:ext cx="7465079" cy="2654613"/>
          </a:xfrm>
        </p:spPr>
        <p:txBody>
          <a:bodyPr numCol="1" spcCol="288000" anchor="t">
            <a:noAutofit/>
          </a:bodyPr>
          <a:lstStyle>
            <a:lvl1pPr marL="0" indent="0" algn="ctr">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2" name="Freeform 11">
            <a:extLst>
              <a:ext uri="{FF2B5EF4-FFF2-40B4-BE49-F238E27FC236}">
                <a16:creationId xmlns:a16="http://schemas.microsoft.com/office/drawing/2014/main" id="{876A0E4F-42D6-3BCC-D4C8-6C9C25EF98D8}"/>
              </a:ext>
            </a:extLst>
          </p:cNvPr>
          <p:cNvSpPr/>
          <p:nvPr userDrawn="1"/>
        </p:nvSpPr>
        <p:spPr>
          <a:xfrm rot="5400000">
            <a:off x="5898016" y="-3867945"/>
            <a:ext cx="395965" cy="8128801"/>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49973717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4">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E93A69-EE97-8E46-B290-315304A87853}"/>
              </a:ext>
            </a:extLst>
          </p:cNvPr>
          <p:cNvSpPr/>
          <p:nvPr userDrawn="1"/>
        </p:nvSpPr>
        <p:spPr bwMode="auto">
          <a:xfrm rot="5400000">
            <a:off x="1487813" y="-531820"/>
            <a:ext cx="4845505" cy="7821131"/>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a:p>
        </p:txBody>
      </p:sp>
      <p:sp>
        <p:nvSpPr>
          <p:cNvPr id="17" name="Picture Placeholder 16">
            <a:extLst>
              <a:ext uri="{FF2B5EF4-FFF2-40B4-BE49-F238E27FC236}">
                <a16:creationId xmlns:a16="http://schemas.microsoft.com/office/drawing/2014/main" id="{93ABB9DF-1DB8-C14F-B6BD-AD6307C52AE0}"/>
              </a:ext>
            </a:extLst>
          </p:cNvPr>
          <p:cNvSpPr>
            <a:spLocks noGrp="1"/>
          </p:cNvSpPr>
          <p:nvPr>
            <p:ph type="pic" sz="quarter" idx="2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801498 h 6858000"/>
              <a:gd name="connsiteX5" fmla="*/ 7699906 w 12192000"/>
              <a:gd name="connsiteY5" fmla="*/ 5801498 h 6858000"/>
              <a:gd name="connsiteX6" fmla="*/ 7821131 w 12192000"/>
              <a:gd name="connsiteY6" fmla="*/ 5801498 h 6858000"/>
              <a:gd name="connsiteX7" fmla="*/ 8130745 w 12192000"/>
              <a:gd name="connsiteY7" fmla="*/ 5801498 h 6858000"/>
              <a:gd name="connsiteX8" fmla="*/ 8130745 w 12192000"/>
              <a:gd name="connsiteY8" fmla="*/ 955993 h 6858000"/>
              <a:gd name="connsiteX9" fmla="*/ 7821131 w 12192000"/>
              <a:gd name="connsiteY9" fmla="*/ 955993 h 6858000"/>
              <a:gd name="connsiteX10" fmla="*/ 7699906 w 12192000"/>
              <a:gd name="connsiteY10" fmla="*/ 955993 h 6858000"/>
              <a:gd name="connsiteX11" fmla="*/ 0 w 12192000"/>
              <a:gd name="connsiteY11" fmla="*/ 95599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12192000" y="0"/>
                </a:lnTo>
                <a:lnTo>
                  <a:pt x="12192000" y="6858000"/>
                </a:lnTo>
                <a:lnTo>
                  <a:pt x="0" y="6858000"/>
                </a:lnTo>
                <a:lnTo>
                  <a:pt x="0" y="5801498"/>
                </a:lnTo>
                <a:lnTo>
                  <a:pt x="7699906" y="5801498"/>
                </a:lnTo>
                <a:lnTo>
                  <a:pt x="7821131" y="5801498"/>
                </a:lnTo>
                <a:lnTo>
                  <a:pt x="8130745" y="5801498"/>
                </a:lnTo>
                <a:lnTo>
                  <a:pt x="8130745" y="955993"/>
                </a:lnTo>
                <a:lnTo>
                  <a:pt x="7821131" y="955993"/>
                </a:lnTo>
                <a:lnTo>
                  <a:pt x="7699906" y="955993"/>
                </a:lnTo>
                <a:lnTo>
                  <a:pt x="0" y="95599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24" name="Text Placeholder 32">
            <a:extLst>
              <a:ext uri="{FF2B5EF4-FFF2-40B4-BE49-F238E27FC236}">
                <a16:creationId xmlns:a16="http://schemas.microsoft.com/office/drawing/2014/main" id="{066AB797-8A89-1847-80D1-724FF4999920}"/>
              </a:ext>
            </a:extLst>
          </p:cNvPr>
          <p:cNvSpPr>
            <a:spLocks noGrp="1"/>
          </p:cNvSpPr>
          <p:nvPr>
            <p:ph type="body" sz="quarter" idx="30" hasCustomPrompt="1"/>
          </p:nvPr>
        </p:nvSpPr>
        <p:spPr>
          <a:xfrm>
            <a:off x="640956" y="1409888"/>
            <a:ext cx="6749339" cy="808098"/>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6" name="Text Placeholder 32">
            <a:extLst>
              <a:ext uri="{FF2B5EF4-FFF2-40B4-BE49-F238E27FC236}">
                <a16:creationId xmlns:a16="http://schemas.microsoft.com/office/drawing/2014/main" id="{FEE3E3B2-D340-544F-9FCD-5AF1F67067B2}"/>
              </a:ext>
            </a:extLst>
          </p:cNvPr>
          <p:cNvSpPr>
            <a:spLocks noGrp="1"/>
          </p:cNvSpPr>
          <p:nvPr>
            <p:ph type="body" sz="quarter" idx="48" hasCustomPrompt="1"/>
          </p:nvPr>
        </p:nvSpPr>
        <p:spPr>
          <a:xfrm>
            <a:off x="640953" y="2428508"/>
            <a:ext cx="6749339" cy="2965622"/>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0" name="Freeform 9">
            <a:extLst>
              <a:ext uri="{FF2B5EF4-FFF2-40B4-BE49-F238E27FC236}">
                <a16:creationId xmlns:a16="http://schemas.microsoft.com/office/drawing/2014/main" id="{F80F3863-DD6C-BFD9-A0C7-6C4A0B06DFF1}"/>
              </a:ext>
            </a:extLst>
          </p:cNvPr>
          <p:cNvSpPr/>
          <p:nvPr userDrawn="1"/>
        </p:nvSpPr>
        <p:spPr>
          <a:xfrm rot="10800000">
            <a:off x="7731196" y="959550"/>
            <a:ext cx="395965" cy="4841948"/>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71789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hoto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BE49C4-98CB-9C45-BD57-28C8BFB0F07D}"/>
              </a:ext>
            </a:extLst>
          </p:cNvPr>
          <p:cNvSpPr/>
          <p:nvPr userDrawn="1"/>
        </p:nvSpPr>
        <p:spPr>
          <a:xfrm>
            <a:off x="0" y="224003"/>
            <a:ext cx="12192000" cy="4142935"/>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22" name="Text Placeholder 32">
            <a:extLst>
              <a:ext uri="{FF2B5EF4-FFF2-40B4-BE49-F238E27FC236}">
                <a16:creationId xmlns:a16="http://schemas.microsoft.com/office/drawing/2014/main" id="{EFAA2AC1-2BB2-C547-AF06-7C9874DC88F2}"/>
              </a:ext>
            </a:extLst>
          </p:cNvPr>
          <p:cNvSpPr>
            <a:spLocks noGrp="1"/>
          </p:cNvSpPr>
          <p:nvPr>
            <p:ph type="body" sz="quarter" idx="30" hasCustomPrompt="1"/>
          </p:nvPr>
        </p:nvSpPr>
        <p:spPr>
          <a:xfrm>
            <a:off x="946246" y="5087694"/>
            <a:ext cx="4403214" cy="1216478"/>
          </a:xfrm>
        </p:spPr>
        <p:txBody>
          <a:bodyPr>
            <a:noAutofit/>
          </a:bodyPr>
          <a:lstStyle>
            <a:lvl1pPr marL="0" indent="0" algn="l">
              <a:buNone/>
              <a:defRPr sz="3600" b="1" i="0" spc="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5D0ABF6D-9B7F-9841-95F1-1A05A28A9CF5}"/>
              </a:ext>
            </a:extLst>
          </p:cNvPr>
          <p:cNvSpPr>
            <a:spLocks noGrp="1"/>
          </p:cNvSpPr>
          <p:nvPr>
            <p:ph type="body" sz="quarter" idx="48" hasCustomPrompt="1"/>
          </p:nvPr>
        </p:nvSpPr>
        <p:spPr>
          <a:xfrm>
            <a:off x="5779610" y="5087694"/>
            <a:ext cx="5726769" cy="1216479"/>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28" name="Picture Placeholder 27">
            <a:extLst>
              <a:ext uri="{FF2B5EF4-FFF2-40B4-BE49-F238E27FC236}">
                <a16:creationId xmlns:a16="http://schemas.microsoft.com/office/drawing/2014/main" id="{30018A5E-BD0C-FB4B-BF50-C125A1DB3922}"/>
              </a:ext>
            </a:extLst>
          </p:cNvPr>
          <p:cNvSpPr>
            <a:spLocks noGrp="1"/>
          </p:cNvSpPr>
          <p:nvPr>
            <p:ph type="pic" sz="quarter" idx="21"/>
          </p:nvPr>
        </p:nvSpPr>
        <p:spPr>
          <a:xfrm>
            <a:off x="5302086" y="553828"/>
            <a:ext cx="6130153" cy="1964833"/>
          </a:xfrm>
          <a:custGeom>
            <a:avLst/>
            <a:gdLst>
              <a:gd name="connsiteX0" fmla="*/ 0 w 6130153"/>
              <a:gd name="connsiteY0" fmla="*/ 0 h 1964833"/>
              <a:gd name="connsiteX1" fmla="*/ 6130153 w 6130153"/>
              <a:gd name="connsiteY1" fmla="*/ 0 h 1964833"/>
              <a:gd name="connsiteX2" fmla="*/ 6130153 w 6130153"/>
              <a:gd name="connsiteY2" fmla="*/ 231958 h 1964833"/>
              <a:gd name="connsiteX3" fmla="*/ 5992823 w 6130153"/>
              <a:gd name="connsiteY3" fmla="*/ 231958 h 1964833"/>
              <a:gd name="connsiteX4" fmla="*/ 5992823 w 6130153"/>
              <a:gd name="connsiteY4" fmla="*/ 1671959 h 1964833"/>
              <a:gd name="connsiteX5" fmla="*/ 6130153 w 6130153"/>
              <a:gd name="connsiteY5" fmla="*/ 1671959 h 1964833"/>
              <a:gd name="connsiteX6" fmla="*/ 6130153 w 6130153"/>
              <a:gd name="connsiteY6" fmla="*/ 1964833 h 1964833"/>
              <a:gd name="connsiteX7" fmla="*/ 0 w 6130153"/>
              <a:gd name="connsiteY7" fmla="*/ 1964833 h 196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153" h="1964833">
                <a:moveTo>
                  <a:pt x="0" y="0"/>
                </a:moveTo>
                <a:lnTo>
                  <a:pt x="6130153" y="0"/>
                </a:lnTo>
                <a:lnTo>
                  <a:pt x="6130153" y="231958"/>
                </a:lnTo>
                <a:lnTo>
                  <a:pt x="5992823" y="231958"/>
                </a:lnTo>
                <a:lnTo>
                  <a:pt x="5992823" y="1671959"/>
                </a:lnTo>
                <a:lnTo>
                  <a:pt x="6130153" y="1671959"/>
                </a:lnTo>
                <a:lnTo>
                  <a:pt x="6130153" y="1964833"/>
                </a:lnTo>
                <a:lnTo>
                  <a:pt x="0" y="196483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350EA441-1AA7-7946-82C6-35FEB2BA56F2}"/>
              </a:ext>
            </a:extLst>
          </p:cNvPr>
          <p:cNvSpPr>
            <a:spLocks noGrp="1"/>
          </p:cNvSpPr>
          <p:nvPr>
            <p:ph type="pic" sz="quarter" idx="23"/>
          </p:nvPr>
        </p:nvSpPr>
        <p:spPr>
          <a:xfrm>
            <a:off x="730112" y="553828"/>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A3EC1EBA-930B-364B-8FFD-A3A37D85E041}"/>
              </a:ext>
            </a:extLst>
          </p:cNvPr>
          <p:cNvSpPr>
            <a:spLocks noGrp="1"/>
          </p:cNvSpPr>
          <p:nvPr>
            <p:ph type="pic" sz="quarter" idx="49"/>
          </p:nvPr>
        </p:nvSpPr>
        <p:spPr>
          <a:xfrm>
            <a:off x="730112" y="2749084"/>
            <a:ext cx="6130153" cy="196483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23" name="Picture Placeholder 2">
            <a:extLst>
              <a:ext uri="{FF2B5EF4-FFF2-40B4-BE49-F238E27FC236}">
                <a16:creationId xmlns:a16="http://schemas.microsoft.com/office/drawing/2014/main" id="{72415A37-99DF-6D48-A82B-08B0B77A1BCF}"/>
              </a:ext>
            </a:extLst>
          </p:cNvPr>
          <p:cNvSpPr>
            <a:spLocks noGrp="1"/>
          </p:cNvSpPr>
          <p:nvPr>
            <p:ph type="pic" sz="quarter" idx="50"/>
          </p:nvPr>
        </p:nvSpPr>
        <p:spPr>
          <a:xfrm>
            <a:off x="7154359" y="2749084"/>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2" name="Freeform 11">
            <a:extLst>
              <a:ext uri="{FF2B5EF4-FFF2-40B4-BE49-F238E27FC236}">
                <a16:creationId xmlns:a16="http://schemas.microsoft.com/office/drawing/2014/main" id="{A996230D-CF63-CBC6-1E2D-92C66546C3C0}"/>
              </a:ext>
            </a:extLst>
          </p:cNvPr>
          <p:cNvSpPr/>
          <p:nvPr userDrawn="1"/>
        </p:nvSpPr>
        <p:spPr>
          <a:xfrm>
            <a:off x="11298975" y="78218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2094D2"/>
          </a:solidFill>
          <a:ln w="28891" cap="flat">
            <a:noFill/>
            <a:prstDash val="solid"/>
            <a:miter/>
          </a:ln>
        </p:spPr>
        <p:txBody>
          <a:bodyPr rtlCol="0" anchor="ctr"/>
          <a:lstStyle/>
          <a:p>
            <a:endParaRPr lang="en-US"/>
          </a:p>
        </p:txBody>
      </p:sp>
      <p:sp>
        <p:nvSpPr>
          <p:cNvPr id="14" name="Rectangle 13">
            <a:extLst>
              <a:ext uri="{FF2B5EF4-FFF2-40B4-BE49-F238E27FC236}">
                <a16:creationId xmlns:a16="http://schemas.microsoft.com/office/drawing/2014/main" id="{9D191051-AA2C-1936-0640-761B63AE64DB}"/>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218097642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51886" y="904551"/>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7764C767-0A40-C041-96CE-FAE9BC9F5FCA}"/>
              </a:ext>
            </a:extLst>
          </p:cNvPr>
          <p:cNvSpPr/>
          <p:nvPr userDrawn="1"/>
        </p:nvSpPr>
        <p:spPr>
          <a:xfrm>
            <a:off x="1151886" y="5087772"/>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51885" y="2990169"/>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79838" y="417338"/>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92019" y="112055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79838" y="249221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92019" y="3195428"/>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9" name="Text Placeholder 32">
            <a:extLst>
              <a:ext uri="{FF2B5EF4-FFF2-40B4-BE49-F238E27FC236}">
                <a16:creationId xmlns:a16="http://schemas.microsoft.com/office/drawing/2014/main" id="{2E9877C6-E249-4F4E-8097-E7C44AB5FE09}"/>
              </a:ext>
            </a:extLst>
          </p:cNvPr>
          <p:cNvSpPr>
            <a:spLocks noGrp="1"/>
          </p:cNvSpPr>
          <p:nvPr>
            <p:ph type="body" sz="quarter" idx="54" hasCustomPrompt="1"/>
          </p:nvPr>
        </p:nvSpPr>
        <p:spPr>
          <a:xfrm>
            <a:off x="3892019" y="456708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05D67838-D162-BA4F-965A-715CEE8EB1A7}"/>
              </a:ext>
            </a:extLst>
          </p:cNvPr>
          <p:cNvSpPr>
            <a:spLocks noGrp="1"/>
          </p:cNvSpPr>
          <p:nvPr>
            <p:ph type="body" sz="quarter" idx="55" hasCustomPrompt="1"/>
          </p:nvPr>
        </p:nvSpPr>
        <p:spPr>
          <a:xfrm>
            <a:off x="3904200" y="527030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5" name="Picture Placeholder 2">
            <a:extLst>
              <a:ext uri="{FF2B5EF4-FFF2-40B4-BE49-F238E27FC236}">
                <a16:creationId xmlns:a16="http://schemas.microsoft.com/office/drawing/2014/main" id="{1AE122C5-B93C-2443-9586-190A159CBB8C}"/>
              </a:ext>
            </a:extLst>
          </p:cNvPr>
          <p:cNvSpPr>
            <a:spLocks noGrp="1"/>
          </p:cNvSpPr>
          <p:nvPr>
            <p:ph type="pic" sz="quarter" idx="23"/>
          </p:nvPr>
        </p:nvSpPr>
        <p:spPr>
          <a:xfrm>
            <a:off x="1449252" y="4604263"/>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49252" y="2506660"/>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49252" y="409057"/>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57167045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27530" y="2183205"/>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27529" y="4844269"/>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55482" y="169599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67663" y="2399207"/>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55482" y="434631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67663" y="5049528"/>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24896" y="4360760"/>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24896" y="1687711"/>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166251792"/>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hon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5AB41CE-F6BA-8449-B846-3526857402BA}"/>
              </a:ext>
            </a:extLst>
          </p:cNvPr>
          <p:cNvSpPr/>
          <p:nvPr userDrawn="1"/>
        </p:nvSpPr>
        <p:spPr>
          <a:xfrm>
            <a:off x="1" y="1723900"/>
            <a:ext cx="12191998" cy="4053499"/>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2" name="Text Placeholder 32">
            <a:extLst>
              <a:ext uri="{FF2B5EF4-FFF2-40B4-BE49-F238E27FC236}">
                <a16:creationId xmlns:a16="http://schemas.microsoft.com/office/drawing/2014/main" id="{1CFA480F-7E74-BF47-8D97-68745F852A4D}"/>
              </a:ext>
            </a:extLst>
          </p:cNvPr>
          <p:cNvSpPr>
            <a:spLocks noGrp="1"/>
          </p:cNvSpPr>
          <p:nvPr>
            <p:ph type="body" sz="quarter" idx="30" hasCustomPrompt="1"/>
          </p:nvPr>
        </p:nvSpPr>
        <p:spPr>
          <a:xfrm>
            <a:off x="773875" y="612133"/>
            <a:ext cx="10644249" cy="808786"/>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34A7C2CE-8B7D-0642-9F33-2728633924AF}"/>
              </a:ext>
            </a:extLst>
          </p:cNvPr>
          <p:cNvSpPr>
            <a:spLocks noGrp="1"/>
          </p:cNvSpPr>
          <p:nvPr>
            <p:ph type="body" sz="quarter" idx="48" hasCustomPrompt="1"/>
          </p:nvPr>
        </p:nvSpPr>
        <p:spPr>
          <a:xfrm>
            <a:off x="773877" y="2527915"/>
            <a:ext cx="5322123" cy="2538354"/>
          </a:xfrm>
        </p:spPr>
        <p:txBody>
          <a:bodyPr numCol="1" spcCol="288000" anchor="t">
            <a:noAutofit/>
          </a:bodyPr>
          <a:lstStyle>
            <a:lvl1pPr marL="0" indent="0" algn="l">
              <a:lnSpc>
                <a:spcPct val="100000"/>
              </a:lnSpc>
              <a:spcBef>
                <a:spcPts val="0"/>
              </a:spcBef>
              <a:buNone/>
              <a:defRPr sz="24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pic>
        <p:nvPicPr>
          <p:cNvPr id="13" name="Picture 12">
            <a:extLst>
              <a:ext uri="{FF2B5EF4-FFF2-40B4-BE49-F238E27FC236}">
                <a16:creationId xmlns:a16="http://schemas.microsoft.com/office/drawing/2014/main" id="{8C211F0D-9051-024B-9DC9-CAAD6DD6F6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7429317" y="1458731"/>
            <a:ext cx="3693498" cy="5831867"/>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4" name="Picture Placeholder 2">
            <a:extLst>
              <a:ext uri="{FF2B5EF4-FFF2-40B4-BE49-F238E27FC236}">
                <a16:creationId xmlns:a16="http://schemas.microsoft.com/office/drawing/2014/main" id="{35EDD9E2-AF44-6C49-9A06-EA7CD926F603}"/>
              </a:ext>
            </a:extLst>
          </p:cNvPr>
          <p:cNvSpPr>
            <a:spLocks noGrp="1"/>
          </p:cNvSpPr>
          <p:nvPr>
            <p:ph type="pic" sz="quarter" idx="23"/>
          </p:nvPr>
        </p:nvSpPr>
        <p:spPr>
          <a:xfrm>
            <a:off x="7436587" y="2907206"/>
            <a:ext cx="4755412" cy="2879354"/>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2B1E4B41-A82F-C5DA-18F5-D70EDA69CE5B}"/>
              </a:ext>
            </a:extLst>
          </p:cNvPr>
          <p:cNvSpPr/>
          <p:nvPr userDrawn="1"/>
        </p:nvSpPr>
        <p:spPr>
          <a:xfrm rot="16200000">
            <a:off x="10518124" y="107105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id="{A212208F-070A-C29F-9730-152229B52846}"/>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191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Slide - 1 column">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854280" y="925680"/>
            <a:ext cx="10483431" cy="804265"/>
          </a:xfrm>
        </p:spPr>
        <p:txBody>
          <a:bodyPr>
            <a:noAutofit/>
          </a:bodyPr>
          <a:lstStyle>
            <a:lvl1pPr marL="0" indent="0" algn="l">
              <a:buNone/>
              <a:defRPr sz="36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854282" y="1864553"/>
            <a:ext cx="10483429"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7" name="Freeform 6">
            <a:extLst>
              <a:ext uri="{FF2B5EF4-FFF2-40B4-BE49-F238E27FC236}">
                <a16:creationId xmlns:a16="http://schemas.microsoft.com/office/drawing/2014/main" id="{2AEDC40B-20B0-6CBF-07B9-38AD956F9569}"/>
              </a:ext>
            </a:extLst>
          </p:cNvPr>
          <p:cNvSpPr/>
          <p:nvPr userDrawn="1"/>
        </p:nvSpPr>
        <p:spPr>
          <a:xfrm rot="5400000">
            <a:off x="5923002" y="-4332045"/>
            <a:ext cx="345989" cy="900702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783117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671400" y="759425"/>
            <a:ext cx="4997879" cy="804265"/>
          </a:xfrm>
        </p:spPr>
        <p:txBody>
          <a:bodyPr>
            <a:noAutofit/>
          </a:bodyPr>
          <a:lstStyle>
            <a:lvl1pPr marL="0" indent="0" algn="l">
              <a:buNone/>
              <a:defRPr sz="3600" b="1" i="0">
                <a:solidFill>
                  <a:srgbClr val="1D93D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671403" y="1698298"/>
            <a:ext cx="4997878"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grpSp>
        <p:nvGrpSpPr>
          <p:cNvPr id="4" name="Group 3">
            <a:extLst>
              <a:ext uri="{FF2B5EF4-FFF2-40B4-BE49-F238E27FC236}">
                <a16:creationId xmlns:a16="http://schemas.microsoft.com/office/drawing/2014/main" id="{638CDF72-CF42-F501-B043-5C5AA4F9EE94}"/>
              </a:ext>
            </a:extLst>
          </p:cNvPr>
          <p:cNvGrpSpPr/>
          <p:nvPr userDrawn="1"/>
        </p:nvGrpSpPr>
        <p:grpSpPr>
          <a:xfrm rot="16200000">
            <a:off x="8887162" y="1476548"/>
            <a:ext cx="4506008" cy="2103668"/>
            <a:chOff x="-1871944" y="1778846"/>
            <a:chExt cx="1736764" cy="810823"/>
          </a:xfrm>
        </p:grpSpPr>
        <p:sp>
          <p:nvSpPr>
            <p:cNvPr id="5" name="Freeform 4">
              <a:extLst>
                <a:ext uri="{FF2B5EF4-FFF2-40B4-BE49-F238E27FC236}">
                  <a16:creationId xmlns:a16="http://schemas.microsoft.com/office/drawing/2014/main" id="{48D7C512-6CC3-75FA-DAE1-0F065A820FD5}"/>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816D240B-65D5-454E-6465-0864F402A41A}"/>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5FB591F-0067-FC58-3E99-6A5395A4A5A1}"/>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584D181-B420-D56F-2968-A3906A4FD588}"/>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1D0B637-2DD6-43A1-F272-960E3B76F6BF}"/>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2074882B-4DAE-FEBC-BE2B-4FE4B4C1BBA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pic>
        <p:nvPicPr>
          <p:cNvPr id="13" name="Picture 12">
            <a:extLst>
              <a:ext uri="{FF2B5EF4-FFF2-40B4-BE49-F238E27FC236}">
                <a16:creationId xmlns:a16="http://schemas.microsoft.com/office/drawing/2014/main" id="{ABE364F3-EEEA-05DC-3D3A-D8D60D0628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8315" t="15976" r="16613" b="11083"/>
          <a:stretch/>
        </p:blipFill>
        <p:spPr>
          <a:xfrm>
            <a:off x="2707143" y="1768709"/>
            <a:ext cx="9484857" cy="5294310"/>
          </a:xfrm>
          <a:prstGeom prst="rect">
            <a:avLst/>
          </a:prstGeom>
        </p:spPr>
      </p:pic>
      <p:sp>
        <p:nvSpPr>
          <p:cNvPr id="14" name="Picture Placeholder 17">
            <a:extLst>
              <a:ext uri="{FF2B5EF4-FFF2-40B4-BE49-F238E27FC236}">
                <a16:creationId xmlns:a16="http://schemas.microsoft.com/office/drawing/2014/main" id="{80248A5E-A387-6397-D985-E177350CBE3B}"/>
              </a:ext>
            </a:extLst>
          </p:cNvPr>
          <p:cNvSpPr>
            <a:spLocks noGrp="1"/>
          </p:cNvSpPr>
          <p:nvPr>
            <p:ph type="pic" sz="quarter" idx="10"/>
          </p:nvPr>
        </p:nvSpPr>
        <p:spPr>
          <a:xfrm>
            <a:off x="5965381" y="1969393"/>
            <a:ext cx="6226619" cy="3853972"/>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2073380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B051E9A9-9385-52A1-75D8-5A4E87878770}"/>
              </a:ext>
            </a:extLst>
          </p:cNvPr>
          <p:cNvSpPr/>
          <p:nvPr userDrawn="1"/>
        </p:nvSpPr>
        <p:spPr>
          <a:xfrm>
            <a:off x="-2988" y="3102429"/>
            <a:ext cx="12194988" cy="245489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D2759D8F-66C9-8774-46CC-589C1386D13E}"/>
              </a:ext>
            </a:extLst>
          </p:cNvPr>
          <p:cNvGrpSpPr/>
          <p:nvPr userDrawn="1"/>
        </p:nvGrpSpPr>
        <p:grpSpPr>
          <a:xfrm>
            <a:off x="9456007" y="5829539"/>
            <a:ext cx="2735993" cy="679345"/>
            <a:chOff x="0" y="0"/>
            <a:chExt cx="2301694" cy="571500"/>
          </a:xfrm>
        </p:grpSpPr>
        <p:sp>
          <p:nvSpPr>
            <p:cNvPr id="7" name="Rectangle 6">
              <a:extLst>
                <a:ext uri="{FF2B5EF4-FFF2-40B4-BE49-F238E27FC236}">
                  <a16:creationId xmlns:a16="http://schemas.microsoft.com/office/drawing/2014/main" id="{4A4A8FB1-8F11-0141-5DE0-6281C24D84D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54142550-A084-D565-B045-9AB6CF6BB51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 name="Graphic 1">
            <a:extLst>
              <a:ext uri="{FF2B5EF4-FFF2-40B4-BE49-F238E27FC236}">
                <a16:creationId xmlns:a16="http://schemas.microsoft.com/office/drawing/2014/main" id="{6DE9B32D-A619-D8AC-EFCE-F869773379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3" name="Text Placeholder 32">
            <a:extLst>
              <a:ext uri="{FF2B5EF4-FFF2-40B4-BE49-F238E27FC236}">
                <a16:creationId xmlns:a16="http://schemas.microsoft.com/office/drawing/2014/main" id="{64ABFF8E-C771-1252-E347-4145D5AF72F7}"/>
              </a:ext>
            </a:extLst>
          </p:cNvPr>
          <p:cNvSpPr>
            <a:spLocks noGrp="1"/>
          </p:cNvSpPr>
          <p:nvPr>
            <p:ph type="body" sz="quarter" idx="30" hasCustomPrompt="1"/>
          </p:nvPr>
        </p:nvSpPr>
        <p:spPr>
          <a:xfrm>
            <a:off x="852791" y="3709852"/>
            <a:ext cx="6346032" cy="804265"/>
          </a:xfrm>
        </p:spPr>
        <p:txBody>
          <a:bodyPr>
            <a:noAutofit/>
          </a:bodyPr>
          <a:lstStyle>
            <a:lvl1pPr marL="0" indent="0" algn="l">
              <a:buNone/>
              <a:defRPr sz="3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ollow Our Journey</a:t>
            </a:r>
            <a:endParaRPr lang="en-US" dirty="0"/>
          </a:p>
        </p:txBody>
      </p:sp>
      <p:grpSp>
        <p:nvGrpSpPr>
          <p:cNvPr id="9" name="Group 8">
            <a:extLst>
              <a:ext uri="{FF2B5EF4-FFF2-40B4-BE49-F238E27FC236}">
                <a16:creationId xmlns:a16="http://schemas.microsoft.com/office/drawing/2014/main" id="{9A5B3923-C329-76E3-D521-1B5691B489E3}"/>
              </a:ext>
            </a:extLst>
          </p:cNvPr>
          <p:cNvGrpSpPr/>
          <p:nvPr userDrawn="1"/>
        </p:nvGrpSpPr>
        <p:grpSpPr>
          <a:xfrm rot="16200000">
            <a:off x="8283002" y="1703688"/>
            <a:ext cx="5411064" cy="2526201"/>
            <a:chOff x="-1871944" y="1778846"/>
            <a:chExt cx="1736764" cy="810823"/>
          </a:xfrm>
        </p:grpSpPr>
        <p:sp>
          <p:nvSpPr>
            <p:cNvPr id="10" name="Freeform 9">
              <a:extLst>
                <a:ext uri="{FF2B5EF4-FFF2-40B4-BE49-F238E27FC236}">
                  <a16:creationId xmlns:a16="http://schemas.microsoft.com/office/drawing/2014/main" id="{6C1AD56A-3F65-664F-75AE-547AD26BBCD0}"/>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F0B203D0-4F1F-AF4A-88AA-54E18CD29FEE}"/>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6200723-4FC0-633F-3415-EC13CA112A32}"/>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F93CA007-2D69-244F-05AD-5CBECC817D21}"/>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AAEEA6-8651-4BAB-D748-309574A2E77E}"/>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6034C48-69EE-EAE5-44B4-38451FD5724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28685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BF8474B-2EE8-5D90-EE94-2A449BB5BC14}"/>
              </a:ext>
            </a:extLst>
          </p:cNvPr>
          <p:cNvSpPr/>
          <p:nvPr userDrawn="1"/>
        </p:nvSpPr>
        <p:spPr>
          <a:xfrm>
            <a:off x="0" y="2916349"/>
            <a:ext cx="12172692" cy="297086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78" name="Freeform 177">
            <a:extLst>
              <a:ext uri="{FF2B5EF4-FFF2-40B4-BE49-F238E27FC236}">
                <a16:creationId xmlns:a16="http://schemas.microsoft.com/office/drawing/2014/main" id="{D72AD8ED-B417-EE44-A5AC-AEB6D73B62A7}"/>
              </a:ext>
            </a:extLst>
          </p:cNvPr>
          <p:cNvSpPr/>
          <p:nvPr userDrawn="1"/>
        </p:nvSpPr>
        <p:spPr>
          <a:xfrm>
            <a:off x="8065511" y="5423818"/>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3" name="Text Placeholder 32">
            <a:extLst>
              <a:ext uri="{FF2B5EF4-FFF2-40B4-BE49-F238E27FC236}">
                <a16:creationId xmlns:a16="http://schemas.microsoft.com/office/drawing/2014/main" id="{99B2260A-8AA6-B70B-8A19-887E4F62A1EA}"/>
              </a:ext>
            </a:extLst>
          </p:cNvPr>
          <p:cNvSpPr>
            <a:spLocks noGrp="1"/>
          </p:cNvSpPr>
          <p:nvPr>
            <p:ph type="body" sz="quarter" idx="16" hasCustomPrompt="1"/>
          </p:nvPr>
        </p:nvSpPr>
        <p:spPr>
          <a:xfrm>
            <a:off x="575887" y="3922846"/>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AIRPRENEURS</a:t>
            </a:r>
            <a:endParaRPr lang="en-US" dirty="0"/>
          </a:p>
        </p:txBody>
      </p:sp>
      <p:sp>
        <p:nvSpPr>
          <p:cNvPr id="5" name="Text Placeholder 32">
            <a:extLst>
              <a:ext uri="{FF2B5EF4-FFF2-40B4-BE49-F238E27FC236}">
                <a16:creationId xmlns:a16="http://schemas.microsoft.com/office/drawing/2014/main" id="{E172149E-5E03-96AA-55FE-70298C3C1C77}"/>
              </a:ext>
            </a:extLst>
          </p:cNvPr>
          <p:cNvSpPr>
            <a:spLocks noGrp="1"/>
          </p:cNvSpPr>
          <p:nvPr>
            <p:ph type="body" sz="quarter" idx="19" hasCustomPrompt="1"/>
          </p:nvPr>
        </p:nvSpPr>
        <p:spPr>
          <a:xfrm>
            <a:off x="618012" y="3232383"/>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6" name="Group 5">
            <a:extLst>
              <a:ext uri="{FF2B5EF4-FFF2-40B4-BE49-F238E27FC236}">
                <a16:creationId xmlns:a16="http://schemas.microsoft.com/office/drawing/2014/main" id="{D804B6A4-482D-6C9A-9089-E3658622346A}"/>
              </a:ext>
            </a:extLst>
          </p:cNvPr>
          <p:cNvGrpSpPr/>
          <p:nvPr userDrawn="1"/>
        </p:nvGrpSpPr>
        <p:grpSpPr>
          <a:xfrm>
            <a:off x="162193" y="5927769"/>
            <a:ext cx="2471731" cy="613729"/>
            <a:chOff x="0" y="0"/>
            <a:chExt cx="2301694" cy="571500"/>
          </a:xfrm>
        </p:grpSpPr>
        <p:sp>
          <p:nvSpPr>
            <p:cNvPr id="7" name="Rectangle 6">
              <a:extLst>
                <a:ext uri="{FF2B5EF4-FFF2-40B4-BE49-F238E27FC236}">
                  <a16:creationId xmlns:a16="http://schemas.microsoft.com/office/drawing/2014/main" id="{B32BB417-1319-9691-2C6F-B415DC63CF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43937D66-6C3E-E846-845F-7150743138E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154963"/>
              <a:ext cx="1675765" cy="384810"/>
            </a:xfrm>
            <a:prstGeom prst="rect">
              <a:avLst/>
            </a:prstGeom>
            <a:ln>
              <a:noFill/>
            </a:ln>
            <a:extLst>
              <a:ext uri="{53640926-AAD7-44D8-BBD7-CCE9431645EC}">
                <a14:shadowObscured xmlns:a14="http://schemas.microsoft.com/office/drawing/2010/main"/>
              </a:ext>
            </a:extLst>
          </p:spPr>
        </p:pic>
      </p:grpSp>
      <p:pic>
        <p:nvPicPr>
          <p:cNvPr id="163" name="Graphic 162">
            <a:extLst>
              <a:ext uri="{FF2B5EF4-FFF2-40B4-BE49-F238E27FC236}">
                <a16:creationId xmlns:a16="http://schemas.microsoft.com/office/drawing/2014/main" id="{7BF67B0B-2324-EAFF-41E5-831D9EA25F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177" name="Picture Placeholder 176">
            <a:extLst>
              <a:ext uri="{FF2B5EF4-FFF2-40B4-BE49-F238E27FC236}">
                <a16:creationId xmlns:a16="http://schemas.microsoft.com/office/drawing/2014/main" id="{950B8847-22F7-A4AA-BB88-4959C6102C92}"/>
              </a:ext>
            </a:extLst>
          </p:cNvPr>
          <p:cNvSpPr>
            <a:spLocks noGrp="1"/>
          </p:cNvSpPr>
          <p:nvPr>
            <p:ph type="pic" sz="quarter" idx="44" hasCustomPrompt="1"/>
          </p:nvPr>
        </p:nvSpPr>
        <p:spPr>
          <a:xfrm>
            <a:off x="5718875" y="13789"/>
            <a:ext cx="5533754" cy="6880943"/>
          </a:xfrm>
          <a:custGeom>
            <a:avLst/>
            <a:gdLst>
              <a:gd name="connsiteX0" fmla="*/ 0 w 5533754"/>
              <a:gd name="connsiteY0" fmla="*/ 0 h 6880943"/>
              <a:gd name="connsiteX1" fmla="*/ 5533754 w 5533754"/>
              <a:gd name="connsiteY1" fmla="*/ 0 h 6880943"/>
              <a:gd name="connsiteX2" fmla="*/ 5533754 w 5533754"/>
              <a:gd name="connsiteY2" fmla="*/ 5410029 h 6880943"/>
              <a:gd name="connsiteX3" fmla="*/ 2346636 w 5533754"/>
              <a:gd name="connsiteY3" fmla="*/ 5410029 h 6880943"/>
              <a:gd name="connsiteX4" fmla="*/ 2346636 w 5533754"/>
              <a:gd name="connsiteY4" fmla="*/ 6166660 h 6880943"/>
              <a:gd name="connsiteX5" fmla="*/ 5533754 w 5533754"/>
              <a:gd name="connsiteY5" fmla="*/ 6166660 h 6880943"/>
              <a:gd name="connsiteX6" fmla="*/ 5533754 w 5533754"/>
              <a:gd name="connsiteY6" fmla="*/ 6880943 h 6880943"/>
              <a:gd name="connsiteX7" fmla="*/ 0 w 5533754"/>
              <a:gd name="connsiteY7" fmla="*/ 6880943 h 688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3754" h="6880943">
                <a:moveTo>
                  <a:pt x="0" y="0"/>
                </a:moveTo>
                <a:lnTo>
                  <a:pt x="5533754" y="0"/>
                </a:lnTo>
                <a:lnTo>
                  <a:pt x="5533754" y="5410029"/>
                </a:lnTo>
                <a:lnTo>
                  <a:pt x="2346636" y="5410029"/>
                </a:lnTo>
                <a:lnTo>
                  <a:pt x="2346636" y="6166660"/>
                </a:lnTo>
                <a:lnTo>
                  <a:pt x="5533754" y="6166660"/>
                </a:lnTo>
                <a:lnTo>
                  <a:pt x="5533754" y="6880943"/>
                </a:lnTo>
                <a:lnTo>
                  <a:pt x="0" y="6880943"/>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sp>
        <p:nvSpPr>
          <p:cNvPr id="175" name="Text Placeholder 23">
            <a:extLst>
              <a:ext uri="{FF2B5EF4-FFF2-40B4-BE49-F238E27FC236}">
                <a16:creationId xmlns:a16="http://schemas.microsoft.com/office/drawing/2014/main" id="{F9FE7071-7D7D-13C1-BD08-2F3C5C7F4C51}"/>
              </a:ext>
            </a:extLst>
          </p:cNvPr>
          <p:cNvSpPr>
            <a:spLocks noGrp="1"/>
          </p:cNvSpPr>
          <p:nvPr>
            <p:ph type="body" sz="quarter" idx="45" hasCustomPrompt="1"/>
          </p:nvPr>
        </p:nvSpPr>
        <p:spPr>
          <a:xfrm>
            <a:off x="8065511" y="5436563"/>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Tree>
    <p:extLst>
      <p:ext uri="{BB962C8B-B14F-4D97-AF65-F5344CB8AC3E}">
        <p14:creationId xmlns:p14="http://schemas.microsoft.com/office/powerpoint/2010/main" val="375554104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7" name="Freeform 36">
            <a:extLst>
              <a:ext uri="{FF2B5EF4-FFF2-40B4-BE49-F238E27FC236}">
                <a16:creationId xmlns:a16="http://schemas.microsoft.com/office/drawing/2014/main" id="{6B74FF8C-D66B-56C5-C502-E2B8E6C67C08}"/>
              </a:ext>
            </a:extLst>
          </p:cNvPr>
          <p:cNvSpPr/>
          <p:nvPr userDrawn="1"/>
        </p:nvSpPr>
        <p:spPr>
          <a:xfrm>
            <a:off x="-2" y="1"/>
            <a:ext cx="12192001" cy="184612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dirty="0"/>
          </a:p>
        </p:txBody>
      </p:sp>
      <p:sp>
        <p:nvSpPr>
          <p:cNvPr id="143" name="Text Placeholder 32">
            <a:extLst>
              <a:ext uri="{FF2B5EF4-FFF2-40B4-BE49-F238E27FC236}">
                <a16:creationId xmlns:a16="http://schemas.microsoft.com/office/drawing/2014/main" id="{E246BE9B-0F08-0141-BFBB-5CD2D858EA02}"/>
              </a:ext>
            </a:extLst>
          </p:cNvPr>
          <p:cNvSpPr>
            <a:spLocks noGrp="1"/>
          </p:cNvSpPr>
          <p:nvPr>
            <p:ph type="body" sz="quarter" idx="11" hasCustomPrompt="1"/>
          </p:nvPr>
        </p:nvSpPr>
        <p:spPr>
          <a:xfrm>
            <a:off x="2434100" y="244448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1</a:t>
            </a:r>
            <a:endParaRPr lang="en-US" dirty="0"/>
          </a:p>
        </p:txBody>
      </p:sp>
      <p:sp>
        <p:nvSpPr>
          <p:cNvPr id="144" name="Text Placeholder 32">
            <a:extLst>
              <a:ext uri="{FF2B5EF4-FFF2-40B4-BE49-F238E27FC236}">
                <a16:creationId xmlns:a16="http://schemas.microsoft.com/office/drawing/2014/main" id="{C9C54D80-1128-5642-AF19-023C1AFBB107}"/>
              </a:ext>
            </a:extLst>
          </p:cNvPr>
          <p:cNvSpPr>
            <a:spLocks noGrp="1"/>
          </p:cNvSpPr>
          <p:nvPr>
            <p:ph type="body" sz="quarter" idx="49" hasCustomPrompt="1"/>
          </p:nvPr>
        </p:nvSpPr>
        <p:spPr>
          <a:xfrm>
            <a:off x="3567808" y="2444488"/>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Introduction</a:t>
            </a:r>
            <a:endParaRPr lang="en-US" dirty="0"/>
          </a:p>
        </p:txBody>
      </p:sp>
      <p:sp>
        <p:nvSpPr>
          <p:cNvPr id="145" name="Text Placeholder 32">
            <a:extLst>
              <a:ext uri="{FF2B5EF4-FFF2-40B4-BE49-F238E27FC236}">
                <a16:creationId xmlns:a16="http://schemas.microsoft.com/office/drawing/2014/main" id="{67A3DCF8-C8C1-A54D-B2A9-2AEDD386F887}"/>
              </a:ext>
            </a:extLst>
          </p:cNvPr>
          <p:cNvSpPr>
            <a:spLocks noGrp="1"/>
          </p:cNvSpPr>
          <p:nvPr>
            <p:ph type="body" sz="quarter" idx="13" hasCustomPrompt="1"/>
          </p:nvPr>
        </p:nvSpPr>
        <p:spPr>
          <a:xfrm>
            <a:off x="2434100" y="2902464"/>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2</a:t>
            </a:r>
            <a:endParaRPr lang="en-US" dirty="0"/>
          </a:p>
        </p:txBody>
      </p:sp>
      <p:sp>
        <p:nvSpPr>
          <p:cNvPr id="146" name="Text Placeholder 32">
            <a:extLst>
              <a:ext uri="{FF2B5EF4-FFF2-40B4-BE49-F238E27FC236}">
                <a16:creationId xmlns:a16="http://schemas.microsoft.com/office/drawing/2014/main" id="{9FDD29A6-533C-7341-8E91-02079E2FE43E}"/>
              </a:ext>
            </a:extLst>
          </p:cNvPr>
          <p:cNvSpPr>
            <a:spLocks noGrp="1"/>
          </p:cNvSpPr>
          <p:nvPr>
            <p:ph type="body" sz="quarter" idx="14" hasCustomPrompt="1"/>
          </p:nvPr>
        </p:nvSpPr>
        <p:spPr>
          <a:xfrm>
            <a:off x="3567808" y="2902379"/>
            <a:ext cx="5715653" cy="223986"/>
          </a:xfrm>
        </p:spPr>
        <p:txBody>
          <a:bodyPr anchor="ctr">
            <a:noAutofit/>
          </a:bodyPr>
          <a:lstStyle>
            <a:lvl1pPr marL="0" marR="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marL="0" marR="0" lvl="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a:pPr>
            <a:r>
              <a:rPr lang="en-GB" dirty="0"/>
              <a:t>About us</a:t>
            </a:r>
            <a:endParaRPr lang="en-US" dirty="0"/>
          </a:p>
        </p:txBody>
      </p:sp>
      <p:sp>
        <p:nvSpPr>
          <p:cNvPr id="147" name="Text Placeholder 32">
            <a:extLst>
              <a:ext uri="{FF2B5EF4-FFF2-40B4-BE49-F238E27FC236}">
                <a16:creationId xmlns:a16="http://schemas.microsoft.com/office/drawing/2014/main" id="{57CE5420-826A-4046-981E-1B3B3695529C}"/>
              </a:ext>
            </a:extLst>
          </p:cNvPr>
          <p:cNvSpPr>
            <a:spLocks noGrp="1"/>
          </p:cNvSpPr>
          <p:nvPr>
            <p:ph type="body" sz="quarter" idx="15" hasCustomPrompt="1"/>
          </p:nvPr>
        </p:nvSpPr>
        <p:spPr>
          <a:xfrm>
            <a:off x="2434100" y="3360440"/>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3</a:t>
            </a:r>
            <a:endParaRPr lang="en-US" dirty="0"/>
          </a:p>
        </p:txBody>
      </p:sp>
      <p:sp>
        <p:nvSpPr>
          <p:cNvPr id="148" name="Text Placeholder 32">
            <a:extLst>
              <a:ext uri="{FF2B5EF4-FFF2-40B4-BE49-F238E27FC236}">
                <a16:creationId xmlns:a16="http://schemas.microsoft.com/office/drawing/2014/main" id="{3F6D97E9-C4D5-AC44-89B9-EABADCA7224E}"/>
              </a:ext>
            </a:extLst>
          </p:cNvPr>
          <p:cNvSpPr>
            <a:spLocks noGrp="1"/>
          </p:cNvSpPr>
          <p:nvPr>
            <p:ph type="body" sz="quarter" idx="19" hasCustomPrompt="1"/>
          </p:nvPr>
        </p:nvSpPr>
        <p:spPr>
          <a:xfrm>
            <a:off x="3567808" y="3360783"/>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he Project</a:t>
            </a:r>
            <a:endParaRPr lang="en-US" dirty="0"/>
          </a:p>
        </p:txBody>
      </p:sp>
      <p:sp>
        <p:nvSpPr>
          <p:cNvPr id="152" name="Text Placeholder 32">
            <a:extLst>
              <a:ext uri="{FF2B5EF4-FFF2-40B4-BE49-F238E27FC236}">
                <a16:creationId xmlns:a16="http://schemas.microsoft.com/office/drawing/2014/main" id="{1EDA7C9E-6821-614B-B581-5907A46DAE4B}"/>
              </a:ext>
            </a:extLst>
          </p:cNvPr>
          <p:cNvSpPr>
            <a:spLocks noGrp="1"/>
          </p:cNvSpPr>
          <p:nvPr>
            <p:ph type="body" sz="quarter" idx="17" hasCustomPrompt="1"/>
          </p:nvPr>
        </p:nvSpPr>
        <p:spPr>
          <a:xfrm>
            <a:off x="2434100" y="3818416"/>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4</a:t>
            </a:r>
            <a:endParaRPr lang="en-US" dirty="0"/>
          </a:p>
        </p:txBody>
      </p:sp>
      <p:sp>
        <p:nvSpPr>
          <p:cNvPr id="156" name="Text Placeholder 32">
            <a:extLst>
              <a:ext uri="{FF2B5EF4-FFF2-40B4-BE49-F238E27FC236}">
                <a16:creationId xmlns:a16="http://schemas.microsoft.com/office/drawing/2014/main" id="{3EECCB46-72D7-5740-9CED-11684DF47D53}"/>
              </a:ext>
            </a:extLst>
          </p:cNvPr>
          <p:cNvSpPr>
            <a:spLocks noGrp="1"/>
          </p:cNvSpPr>
          <p:nvPr>
            <p:ph type="body" sz="quarter" idx="20" hasCustomPrompt="1"/>
          </p:nvPr>
        </p:nvSpPr>
        <p:spPr>
          <a:xfrm>
            <a:off x="3567808" y="3818674"/>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Gallery</a:t>
            </a:r>
            <a:endParaRPr lang="en-US" dirty="0"/>
          </a:p>
        </p:txBody>
      </p:sp>
      <p:sp>
        <p:nvSpPr>
          <p:cNvPr id="158" name="Text Placeholder 32">
            <a:extLst>
              <a:ext uri="{FF2B5EF4-FFF2-40B4-BE49-F238E27FC236}">
                <a16:creationId xmlns:a16="http://schemas.microsoft.com/office/drawing/2014/main" id="{2B4AC3CD-CBEF-5E4F-B4DD-BD4814C7F019}"/>
              </a:ext>
            </a:extLst>
          </p:cNvPr>
          <p:cNvSpPr>
            <a:spLocks noGrp="1"/>
          </p:cNvSpPr>
          <p:nvPr>
            <p:ph type="body" sz="quarter" idx="21" hasCustomPrompt="1"/>
          </p:nvPr>
        </p:nvSpPr>
        <p:spPr>
          <a:xfrm>
            <a:off x="2434100" y="4276392"/>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5</a:t>
            </a:r>
            <a:endParaRPr lang="en-US" dirty="0"/>
          </a:p>
        </p:txBody>
      </p:sp>
      <p:sp>
        <p:nvSpPr>
          <p:cNvPr id="159" name="Text Placeholder 32">
            <a:extLst>
              <a:ext uri="{FF2B5EF4-FFF2-40B4-BE49-F238E27FC236}">
                <a16:creationId xmlns:a16="http://schemas.microsoft.com/office/drawing/2014/main" id="{F367CBF7-CF02-8943-9062-D02DDFD8E2D1}"/>
              </a:ext>
            </a:extLst>
          </p:cNvPr>
          <p:cNvSpPr>
            <a:spLocks noGrp="1"/>
          </p:cNvSpPr>
          <p:nvPr>
            <p:ph type="body" sz="quarter" idx="22" hasCustomPrompt="1"/>
          </p:nvPr>
        </p:nvSpPr>
        <p:spPr>
          <a:xfrm>
            <a:off x="3567808" y="427656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Our Team</a:t>
            </a:r>
            <a:endParaRPr lang="en-US" dirty="0"/>
          </a:p>
        </p:txBody>
      </p:sp>
      <p:sp>
        <p:nvSpPr>
          <p:cNvPr id="161" name="Text Placeholder 32">
            <a:extLst>
              <a:ext uri="{FF2B5EF4-FFF2-40B4-BE49-F238E27FC236}">
                <a16:creationId xmlns:a16="http://schemas.microsoft.com/office/drawing/2014/main" id="{BA3A5A09-F937-7549-8085-E87DDB3C3436}"/>
              </a:ext>
            </a:extLst>
          </p:cNvPr>
          <p:cNvSpPr>
            <a:spLocks noGrp="1"/>
          </p:cNvSpPr>
          <p:nvPr>
            <p:ph type="body" sz="quarter" idx="51" hasCustomPrompt="1"/>
          </p:nvPr>
        </p:nvSpPr>
        <p:spPr>
          <a:xfrm>
            <a:off x="2449647" y="473436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6</a:t>
            </a:r>
            <a:endParaRPr lang="en-US" dirty="0"/>
          </a:p>
        </p:txBody>
      </p:sp>
      <p:sp>
        <p:nvSpPr>
          <p:cNvPr id="162" name="Text Placeholder 32">
            <a:extLst>
              <a:ext uri="{FF2B5EF4-FFF2-40B4-BE49-F238E27FC236}">
                <a16:creationId xmlns:a16="http://schemas.microsoft.com/office/drawing/2014/main" id="{3125800D-400A-CB4E-BB45-05A321F773EC}"/>
              </a:ext>
            </a:extLst>
          </p:cNvPr>
          <p:cNvSpPr>
            <a:spLocks noGrp="1"/>
          </p:cNvSpPr>
          <p:nvPr>
            <p:ph type="body" sz="quarter" idx="52" hasCustomPrompt="1"/>
          </p:nvPr>
        </p:nvSpPr>
        <p:spPr>
          <a:xfrm>
            <a:off x="3583355" y="4734456"/>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Question and Answers</a:t>
            </a:r>
            <a:endParaRPr lang="en-US" dirty="0"/>
          </a:p>
        </p:txBody>
      </p:sp>
      <p:sp>
        <p:nvSpPr>
          <p:cNvPr id="286" name="Rectangle 285">
            <a:extLst>
              <a:ext uri="{FF2B5EF4-FFF2-40B4-BE49-F238E27FC236}">
                <a16:creationId xmlns:a16="http://schemas.microsoft.com/office/drawing/2014/main" id="{DB242B25-6F94-3545-A2C1-E1A9B68738D1}"/>
              </a:ext>
            </a:extLst>
          </p:cNvPr>
          <p:cNvSpPr/>
          <p:nvPr userDrawn="1"/>
        </p:nvSpPr>
        <p:spPr>
          <a:xfrm>
            <a:off x="2721078" y="5671351"/>
            <a:ext cx="4194233" cy="836447"/>
          </a:xfrm>
          <a:prstGeom prst="rect">
            <a:avLst/>
          </a:prstGeom>
        </p:spPr>
        <p:txBody>
          <a:bodyPr wrap="square">
            <a:spAutoFit/>
          </a:bodyPr>
          <a:lstStyle/>
          <a:p>
            <a:pPr marL="0" marR="0" indent="0" algn="just" defTabSz="293378" rtl="0" eaLnBrk="1" fontAlgn="auto" latinLnBrk="0" hangingPunct="0">
              <a:lnSpc>
                <a:spcPct val="100000"/>
              </a:lnSpc>
              <a:spcBef>
                <a:spcPts val="0"/>
              </a:spcBef>
              <a:spcAft>
                <a:spcPts val="0"/>
              </a:spcAft>
              <a:buClrTx/>
              <a:buSzTx/>
              <a:buFontTx/>
              <a:buNone/>
              <a:tabLst/>
              <a:defRPr/>
            </a:pPr>
            <a:r>
              <a:rPr lang="en-GB" sz="967" dirty="0">
                <a:solidFill>
                  <a:srgbClr val="11496E"/>
                </a:solidFill>
                <a:latin typeface="Calibri" panose="020F0502020204030204" pitchFamily="34" charset="0"/>
                <a:ea typeface="Open Sans" panose="020B0606030504020204" pitchFamily="34" charset="0"/>
                <a:cs typeface="Calibri" panose="020F0502020204030204" pitchFamily="34" charset="0"/>
              </a:rPr>
              <a:t>Co-funded by the European Union. Views and opinions expressed are however those of the author or authors only and do not necessarily reflect those of the European Union or the Foundation for the Development of the Education System. Neither the European Union nor the entity providing the grant can be held responsible for them.</a:t>
            </a:r>
            <a:endParaRPr lang="en-US" sz="967"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
        <p:nvSpPr>
          <p:cNvPr id="58" name="Text Placeholder 32">
            <a:extLst>
              <a:ext uri="{FF2B5EF4-FFF2-40B4-BE49-F238E27FC236}">
                <a16:creationId xmlns:a16="http://schemas.microsoft.com/office/drawing/2014/main" id="{A7E9440F-DDEC-434B-9346-8F02B164E9B2}"/>
              </a:ext>
            </a:extLst>
          </p:cNvPr>
          <p:cNvSpPr>
            <a:spLocks noGrp="1"/>
          </p:cNvSpPr>
          <p:nvPr>
            <p:ph type="body" sz="quarter" idx="61" hasCustomPrompt="1"/>
          </p:nvPr>
        </p:nvSpPr>
        <p:spPr>
          <a:xfrm>
            <a:off x="2694576" y="821841"/>
            <a:ext cx="3692066" cy="532331"/>
          </a:xfrm>
        </p:spPr>
        <p:txBody>
          <a:bodyPr anchor="ctr">
            <a:noAutofit/>
          </a:bodyPr>
          <a:lstStyle>
            <a:lvl1pPr marL="0" indent="0" algn="l">
              <a:lnSpc>
                <a:spcPts val="3190"/>
              </a:lnSpc>
              <a:spcBef>
                <a:spcPts val="0"/>
              </a:spcBef>
              <a:buNone/>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ABLE OF CONTENTS</a:t>
            </a:r>
            <a:endParaRPr lang="en-US" dirty="0"/>
          </a:p>
        </p:txBody>
      </p:sp>
      <p:grpSp>
        <p:nvGrpSpPr>
          <p:cNvPr id="32" name="Group 31">
            <a:extLst>
              <a:ext uri="{FF2B5EF4-FFF2-40B4-BE49-F238E27FC236}">
                <a16:creationId xmlns:a16="http://schemas.microsoft.com/office/drawing/2014/main" id="{51C2F8C0-A5CA-C542-B154-C949A59DEFE7}"/>
              </a:ext>
            </a:extLst>
          </p:cNvPr>
          <p:cNvGrpSpPr/>
          <p:nvPr userDrawn="1"/>
        </p:nvGrpSpPr>
        <p:grpSpPr>
          <a:xfrm>
            <a:off x="7546237" y="5794892"/>
            <a:ext cx="2735993" cy="679345"/>
            <a:chOff x="0" y="0"/>
            <a:chExt cx="2301694" cy="571500"/>
          </a:xfrm>
        </p:grpSpPr>
        <p:sp>
          <p:nvSpPr>
            <p:cNvPr id="33" name="Rectangle 32">
              <a:extLst>
                <a:ext uri="{FF2B5EF4-FFF2-40B4-BE49-F238E27FC236}">
                  <a16:creationId xmlns:a16="http://schemas.microsoft.com/office/drawing/2014/main" id="{65C3F60E-1A9C-7548-9AF3-F3DC2492698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4" name="Picture 33">
              <a:extLst>
                <a:ext uri="{FF2B5EF4-FFF2-40B4-BE49-F238E27FC236}">
                  <a16:creationId xmlns:a16="http://schemas.microsoft.com/office/drawing/2014/main" id="{50E12723-56AA-9A42-BFE6-5A8D843584E6}"/>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grpSp>
        <p:nvGrpSpPr>
          <p:cNvPr id="2" name="Group 1">
            <a:extLst>
              <a:ext uri="{FF2B5EF4-FFF2-40B4-BE49-F238E27FC236}">
                <a16:creationId xmlns:a16="http://schemas.microsoft.com/office/drawing/2014/main" id="{D2CFE794-58A0-462D-6BE1-7F3815412160}"/>
              </a:ext>
            </a:extLst>
          </p:cNvPr>
          <p:cNvGrpSpPr/>
          <p:nvPr userDrawn="1"/>
        </p:nvGrpSpPr>
        <p:grpSpPr>
          <a:xfrm rot="5400000">
            <a:off x="-823306" y="1564548"/>
            <a:ext cx="3088508" cy="1441896"/>
            <a:chOff x="-1871944" y="1778846"/>
            <a:chExt cx="1736764" cy="810823"/>
          </a:xfrm>
        </p:grpSpPr>
        <p:sp>
          <p:nvSpPr>
            <p:cNvPr id="3" name="Freeform 2">
              <a:extLst>
                <a:ext uri="{FF2B5EF4-FFF2-40B4-BE49-F238E27FC236}">
                  <a16:creationId xmlns:a16="http://schemas.microsoft.com/office/drawing/2014/main" id="{762C12FE-87D4-5472-04C9-E3F4BA0BCC6C}"/>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50D55092-AA96-02A7-A72F-AF8D47FEBF10}"/>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523F1CDA-C420-102F-C9FF-31E563EDDC8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5289117-30AA-BAE5-0D17-D06BE1032DA4}"/>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09BCDEC-B15A-1460-3D26-5711E101886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8FEFD179-2B75-FB68-156B-4CCC63B1ED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47572136"/>
      </p:ext>
    </p:extLst>
  </p:cSld>
  <p:clrMapOvr>
    <a:masterClrMapping/>
  </p:clrMapOvr>
  <p:extLst>
    <p:ext uri="{DCECCB84-F9BA-43D5-87BE-67443E8EF086}">
      <p15:sldGuideLst xmlns:p15="http://schemas.microsoft.com/office/powerpoint/2012/main">
        <p15:guide id="1" pos="4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884995921"/>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0"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354767" y="415605"/>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5986744" y="2113308"/>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0"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433588009"/>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3360823"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3595395" y="511081"/>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4789714" y="2412091"/>
            <a:ext cx="6877679"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668500812"/>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282DA373-D882-C787-AB62-F6768BB001C0}"/>
              </a:ext>
            </a:extLst>
          </p:cNvPr>
          <p:cNvSpPr/>
          <p:nvPr userDrawn="1"/>
        </p:nvSpPr>
        <p:spPr>
          <a:xfrm>
            <a:off x="-2" y="4425687"/>
            <a:ext cx="12222687" cy="1437597"/>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
        <p:nvSpPr>
          <p:cNvPr id="57" name="Text Placeholder 3">
            <a:extLst>
              <a:ext uri="{FF2B5EF4-FFF2-40B4-BE49-F238E27FC236}">
                <a16:creationId xmlns:a16="http://schemas.microsoft.com/office/drawing/2014/main" id="{72EE2CF0-D590-9D49-88CE-03DDDC527CE3}"/>
              </a:ext>
            </a:extLst>
          </p:cNvPr>
          <p:cNvSpPr>
            <a:spLocks noGrp="1"/>
          </p:cNvSpPr>
          <p:nvPr>
            <p:ph type="body" sz="quarter" idx="14" hasCustomPrompt="1"/>
          </p:nvPr>
        </p:nvSpPr>
        <p:spPr>
          <a:xfrm>
            <a:off x="1845059" y="994716"/>
            <a:ext cx="4279038" cy="757034"/>
          </a:xfrm>
          <a:effectLst>
            <a:glow rad="127000">
              <a:srgbClr val="414141"/>
            </a:glow>
          </a:effectLst>
        </p:spPr>
        <p:txBody>
          <a:bodyPr>
            <a:noAutofit/>
          </a:bodyPr>
          <a:lstStyle>
            <a:lvl1pPr marL="0" indent="0" algn="r">
              <a:buNone/>
              <a:defRPr sz="11613" b="1">
                <a:solidFill>
                  <a:srgbClr val="1C1442"/>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0" name="Picture Placeholder 5">
            <a:extLst>
              <a:ext uri="{FF2B5EF4-FFF2-40B4-BE49-F238E27FC236}">
                <a16:creationId xmlns:a16="http://schemas.microsoft.com/office/drawing/2014/main" id="{5A1F1DAD-078A-A73A-851E-3376F966C155}"/>
              </a:ext>
            </a:extLst>
          </p:cNvPr>
          <p:cNvSpPr>
            <a:spLocks noGrp="1"/>
          </p:cNvSpPr>
          <p:nvPr>
            <p:ph type="pic" sz="quarter" idx="19"/>
          </p:nvPr>
        </p:nvSpPr>
        <p:spPr>
          <a:xfrm>
            <a:off x="-1" y="774915"/>
            <a:ext cx="7377194" cy="4244425"/>
          </a:xfrm>
          <a:solidFill>
            <a:schemeClr val="bg1">
              <a:lumMod val="95000"/>
            </a:schemeClr>
          </a:solidFill>
        </p:spPr>
        <p:txBody>
          <a:bodyPr>
            <a:normAutofit/>
          </a:bodyPr>
          <a:lstStyle>
            <a:lvl1pPr marL="0" indent="0" algn="ctr">
              <a:buNone/>
              <a:defRPr sz="1000"/>
            </a:lvl1pPr>
          </a:lstStyle>
          <a:p>
            <a:endParaRPr lang="en-US" dirty="0"/>
          </a:p>
        </p:txBody>
      </p:sp>
      <p:sp>
        <p:nvSpPr>
          <p:cNvPr id="12" name="Text Placeholder 3">
            <a:extLst>
              <a:ext uri="{FF2B5EF4-FFF2-40B4-BE49-F238E27FC236}">
                <a16:creationId xmlns:a16="http://schemas.microsoft.com/office/drawing/2014/main" id="{0320215C-2ADA-6008-9C24-7D5642C2973A}"/>
              </a:ext>
            </a:extLst>
          </p:cNvPr>
          <p:cNvSpPr>
            <a:spLocks noGrp="1"/>
          </p:cNvSpPr>
          <p:nvPr>
            <p:ph type="body" sz="quarter" idx="18" hasCustomPrompt="1"/>
          </p:nvPr>
        </p:nvSpPr>
        <p:spPr>
          <a:xfrm>
            <a:off x="8634200" y="1109465"/>
            <a:ext cx="3113515" cy="2850370"/>
          </a:xfrm>
          <a:effectLst>
            <a:glow rad="127000">
              <a:srgbClr val="414141"/>
            </a:glow>
          </a:effectLst>
        </p:spPr>
        <p:txBody>
          <a:bodyPr>
            <a:noAutofit/>
          </a:bodyPr>
          <a:lstStyle>
            <a:lvl1pPr marL="0" indent="0" algn="l">
              <a:buNone/>
              <a:defRPr sz="2800" b="0">
                <a:solidFill>
                  <a:srgbClr val="11496E"/>
                </a:solidFill>
                <a:latin typeface="Calibri" panose="020F0502020204030204" pitchFamily="34" charset="0"/>
                <a:cs typeface="Calibri" panose="020F0502020204030204" pitchFamily="34" charset="0"/>
              </a:defRPr>
            </a:lvl1pPr>
          </a:lstStyle>
          <a:p>
            <a:pPr lvl="0"/>
            <a:r>
              <a:rPr lang="en-GB" dirty="0"/>
              <a:t>TITLE</a:t>
            </a:r>
            <a:endParaRPr lang="en-US" dirty="0"/>
          </a:p>
        </p:txBody>
      </p:sp>
      <p:sp>
        <p:nvSpPr>
          <p:cNvPr id="16" name="Text Placeholder 3">
            <a:extLst>
              <a:ext uri="{FF2B5EF4-FFF2-40B4-BE49-F238E27FC236}">
                <a16:creationId xmlns:a16="http://schemas.microsoft.com/office/drawing/2014/main" id="{5EA9094F-CE4B-0154-3FA5-E8699A6251D5}"/>
              </a:ext>
            </a:extLst>
          </p:cNvPr>
          <p:cNvSpPr>
            <a:spLocks noGrp="1"/>
          </p:cNvSpPr>
          <p:nvPr>
            <p:ph type="body" sz="quarter" idx="20" hasCustomPrompt="1"/>
          </p:nvPr>
        </p:nvSpPr>
        <p:spPr>
          <a:xfrm>
            <a:off x="2683500" y="2586073"/>
            <a:ext cx="4568533" cy="2513490"/>
          </a:xfrm>
          <a:effectLst>
            <a:glow rad="127000">
              <a:srgbClr val="414141"/>
            </a:glow>
          </a:effectLst>
        </p:spPr>
        <p:txBody>
          <a:bodyPr>
            <a:noAutofit/>
          </a:bodyPr>
          <a:lstStyle>
            <a:lvl1pPr marL="0" indent="0" algn="r">
              <a:buNone/>
              <a:defRPr sz="20000" b="1">
                <a:solidFill>
                  <a:schemeClr val="bg1"/>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4" name="Freeform 13">
            <a:extLst>
              <a:ext uri="{FF2B5EF4-FFF2-40B4-BE49-F238E27FC236}">
                <a16:creationId xmlns:a16="http://schemas.microsoft.com/office/drawing/2014/main" id="{510BE810-6A0B-B23F-1263-9C2E2A7EFEC6}"/>
              </a:ext>
            </a:extLst>
          </p:cNvPr>
          <p:cNvSpPr/>
          <p:nvPr userDrawn="1"/>
        </p:nvSpPr>
        <p:spPr>
          <a:xfrm>
            <a:off x="7377192" y="1240767"/>
            <a:ext cx="1062667" cy="86264"/>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DC162A94-5E7B-0BAE-1C49-AD7CF1786063}"/>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0940330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1">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94DD511-F818-3742-804D-F48935BFC779}"/>
              </a:ext>
            </a:extLst>
          </p:cNvPr>
          <p:cNvSpPr>
            <a:spLocks noGrp="1"/>
          </p:cNvSpPr>
          <p:nvPr>
            <p:ph type="pic" sz="quarter" idx="21"/>
          </p:nvPr>
        </p:nvSpPr>
        <p:spPr>
          <a:xfrm>
            <a:off x="5674559" y="546533"/>
            <a:ext cx="5884396" cy="5640006"/>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4" name="Picture Placeholder 13">
            <a:extLst>
              <a:ext uri="{FF2B5EF4-FFF2-40B4-BE49-F238E27FC236}">
                <a16:creationId xmlns:a16="http://schemas.microsoft.com/office/drawing/2014/main" id="{084BE7BB-B86A-F14B-AAC9-4DF7A79CCB03}"/>
              </a:ext>
            </a:extLst>
          </p:cNvPr>
          <p:cNvSpPr>
            <a:spLocks noGrp="1"/>
          </p:cNvSpPr>
          <p:nvPr>
            <p:ph type="pic" sz="quarter" idx="22"/>
          </p:nvPr>
        </p:nvSpPr>
        <p:spPr>
          <a:xfrm>
            <a:off x="773723" y="2843169"/>
            <a:ext cx="4654800" cy="3343370"/>
          </a:xfrm>
          <a:custGeom>
            <a:avLst/>
            <a:gdLst>
              <a:gd name="connsiteX0" fmla="*/ 0 w 4654800"/>
              <a:gd name="connsiteY0" fmla="*/ 0 h 3343370"/>
              <a:gd name="connsiteX1" fmla="*/ 4654800 w 4654800"/>
              <a:gd name="connsiteY1" fmla="*/ 0 h 3343370"/>
              <a:gd name="connsiteX2" fmla="*/ 4654800 w 4654800"/>
              <a:gd name="connsiteY2" fmla="*/ 3343370 h 3343370"/>
              <a:gd name="connsiteX3" fmla="*/ 0 w 4654800"/>
              <a:gd name="connsiteY3" fmla="*/ 3343370 h 3343370"/>
              <a:gd name="connsiteX4" fmla="*/ 0 w 4654800"/>
              <a:gd name="connsiteY4" fmla="*/ 2836855 h 3343370"/>
              <a:gd name="connsiteX5" fmla="*/ 245549 w 4654800"/>
              <a:gd name="connsiteY5" fmla="*/ 2836855 h 3343370"/>
              <a:gd name="connsiteX6" fmla="*/ 245549 w 4654800"/>
              <a:gd name="connsiteY6" fmla="*/ 1396854 h 3343370"/>
              <a:gd name="connsiteX7" fmla="*/ 0 w 4654800"/>
              <a:gd name="connsiteY7" fmla="*/ 1396854 h 334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4800" h="3343370">
                <a:moveTo>
                  <a:pt x="0" y="0"/>
                </a:moveTo>
                <a:lnTo>
                  <a:pt x="4654800" y="0"/>
                </a:lnTo>
                <a:lnTo>
                  <a:pt x="4654800" y="3343370"/>
                </a:lnTo>
                <a:lnTo>
                  <a:pt x="0" y="3343370"/>
                </a:lnTo>
                <a:lnTo>
                  <a:pt x="0" y="2836855"/>
                </a:lnTo>
                <a:lnTo>
                  <a:pt x="245549" y="2836855"/>
                </a:lnTo>
                <a:lnTo>
                  <a:pt x="245549" y="1396854"/>
                </a:lnTo>
                <a:lnTo>
                  <a:pt x="0" y="1396854"/>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1" name="Picture Placeholder 2">
            <a:extLst>
              <a:ext uri="{FF2B5EF4-FFF2-40B4-BE49-F238E27FC236}">
                <a16:creationId xmlns:a16="http://schemas.microsoft.com/office/drawing/2014/main" id="{B0BC1973-E64D-D942-9664-0F5CC3679F56}"/>
              </a:ext>
            </a:extLst>
          </p:cNvPr>
          <p:cNvSpPr>
            <a:spLocks noGrp="1"/>
          </p:cNvSpPr>
          <p:nvPr>
            <p:ph type="pic" sz="quarter" idx="23"/>
          </p:nvPr>
        </p:nvSpPr>
        <p:spPr>
          <a:xfrm>
            <a:off x="773723" y="566733"/>
            <a:ext cx="4654800" cy="205227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7557E106-B2BD-1152-526A-EEFEA92320E0}"/>
              </a:ext>
            </a:extLst>
          </p:cNvPr>
          <p:cNvSpPr/>
          <p:nvPr userDrawn="1"/>
        </p:nvSpPr>
        <p:spPr>
          <a:xfrm>
            <a:off x="658169" y="4238995"/>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785774958"/>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0"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5686347"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002927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CCF3E4-CA5A-1DB6-A67C-C9D8B7009D50}"/>
              </a:ext>
            </a:extLst>
          </p:cNvPr>
          <p:cNvGraphicFramePr>
            <a:graphicFrameLocks noChangeAspect="1"/>
          </p:cNvGraphicFramePr>
          <p:nvPr userDrawn="1">
            <p:custDataLst>
              <p:tags r:id="rId21"/>
            </p:custDataLst>
            <p:extLst>
              <p:ext uri="{D42A27DB-BD31-4B8C-83A1-F6EECF244321}">
                <p14:modId xmlns:p14="http://schemas.microsoft.com/office/powerpoint/2010/main" val="3869913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538" imgH="540" progId="TCLayout.ActiveDocument.1">
                  <p:embed/>
                </p:oleObj>
              </mc:Choice>
              <mc:Fallback>
                <p:oleObj name="think-cell Folie" r:id="rId22" imgW="538" imgH="540"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dirty="0"/>
              <a:t>Klicken Sie hier, um den Master-Titelstil zu bearbeiten</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a:t>Klicken Sie auf , um Mastertextstile zu bearbeiten</a:t>
            </a:r>
          </a:p>
          <a:p>
            <a:pPr lvl="1"/>
            <a:r>
              <a:rPr lang="en-US" dirty="0"/>
              <a:t>Zweite Ebene</a:t>
            </a:r>
          </a:p>
          <a:p>
            <a:pPr lvl="2"/>
            <a:r>
              <a:rPr lang="en-US" dirty="0"/>
              <a:t>Dritte Ebene</a:t>
            </a:r>
          </a:p>
          <a:p>
            <a:pPr lvl="3"/>
            <a:r>
              <a:rPr lang="en-US" dirty="0"/>
              <a:t>Vierte Ebene</a:t>
            </a:r>
          </a:p>
          <a:p>
            <a:pPr lvl="4"/>
            <a:r>
              <a:rPr lang="en-US" dirty="0"/>
              <a:t>Fünfte Ebene</a:t>
            </a:r>
          </a:p>
        </p:txBody>
      </p:sp>
      <p:sp>
        <p:nvSpPr>
          <p:cNvPr id="54" name="Rectangle 53">
            <a:extLst>
              <a:ext uri="{FF2B5EF4-FFF2-40B4-BE49-F238E27FC236}">
                <a16:creationId xmlns:a16="http://schemas.microsoft.com/office/drawing/2014/main" id="{57D94F2C-9C87-2497-E07B-9D9B7EA0E840}"/>
              </a:ext>
            </a:extLst>
          </p:cNvPr>
          <p:cNvSpPr/>
          <p:nvPr userDrawn="1"/>
        </p:nvSpPr>
        <p:spPr>
          <a:xfrm rot="16200000">
            <a:off x="9888467" y="4506185"/>
            <a:ext cx="3778250" cy="184666"/>
          </a:xfrm>
          <a:prstGeom prst="rect">
            <a:avLst/>
          </a:prstGeom>
        </p:spPr>
        <p:txBody>
          <a:bodyPr>
            <a:spAutoFit/>
          </a:bodyPr>
          <a:lstStyle/>
          <a:p>
            <a:pPr algn="l"/>
            <a:r>
              <a:rPr lang="en-US" sz="600" kern="900" spc="230" baseline="0" dirty="0">
                <a:solidFill>
                  <a:srgbClr val="11496E"/>
                </a:solidFill>
                <a:latin typeface="Calibri" panose="020F0502020204030204" pitchFamily="34" charset="0"/>
                <a:cs typeface="Calibri" panose="020F0502020204030204" pitchFamily="34" charset="0"/>
              </a:rPr>
              <a:t>Ethische und grüne Bildung für junges Unternehmertum</a:t>
            </a:r>
          </a:p>
        </p:txBody>
      </p:sp>
    </p:spTree>
    <p:extLst>
      <p:ext uri="{BB962C8B-B14F-4D97-AF65-F5344CB8AC3E}">
        <p14:creationId xmlns:p14="http://schemas.microsoft.com/office/powerpoint/2010/main" val="430657063"/>
      </p:ext>
    </p:extLst>
  </p:cSld>
  <p:clrMap bg1="lt1" tx1="dk1" bg2="lt2" tx2="dk2" accent1="accent1" accent2="accent2" accent3="accent3" accent4="accent4" accent5="accent5" accent6="accent6" hlink="hlink" folHlink="folHlink"/>
  <p:sldLayoutIdLst>
    <p:sldLayoutId id="2147483736" r:id="rId1"/>
    <p:sldLayoutId id="2147483694" r:id="rId2"/>
    <p:sldLayoutId id="2147483683" r:id="rId3"/>
    <p:sldLayoutId id="2147483697" r:id="rId4"/>
    <p:sldLayoutId id="2147483742" r:id="rId5"/>
    <p:sldLayoutId id="2147483740" r:id="rId6"/>
    <p:sldLayoutId id="2147483703" r:id="rId7"/>
    <p:sldLayoutId id="2147483700" r:id="rId8"/>
    <p:sldLayoutId id="2147483723" r:id="rId9"/>
    <p:sldLayoutId id="2147483741" r:id="rId10"/>
    <p:sldLayoutId id="2147483698" r:id="rId11"/>
    <p:sldLayoutId id="2147483695" r:id="rId12"/>
    <p:sldLayoutId id="2147483735" r:id="rId13"/>
    <p:sldLayoutId id="2147483734" r:id="rId14"/>
    <p:sldLayoutId id="2147483739" r:id="rId15"/>
    <p:sldLayoutId id="2147483708" r:id="rId16"/>
    <p:sldLayoutId id="2147483733" r:id="rId17"/>
    <p:sldLayoutId id="2147483737" r:id="rId18"/>
    <p:sldLayoutId id="2147483702" r:id="rId19"/>
  </p:sldLayoutIdLst>
  <p:hf hdr="0"/>
  <p:txStyles>
    <p:titleStyle>
      <a:lvl1pPr algn="l" defTabSz="3343281" rtl="0" eaLnBrk="1" latinLnBrk="0" hangingPunct="1">
        <a:lnSpc>
          <a:spcPct val="90000"/>
        </a:lnSpc>
        <a:spcBef>
          <a:spcPct val="0"/>
        </a:spcBef>
        <a:buNone/>
        <a:defRPr sz="3870" kern="1200">
          <a:solidFill>
            <a:srgbClr val="011E3B"/>
          </a:solidFill>
          <a:latin typeface="Calibri" panose="020F0502020204030204" pitchFamily="34" charset="0"/>
          <a:ea typeface="+mj-ea"/>
          <a:cs typeface="Calibri" panose="020F0502020204030204" pitchFamily="34" charset="0"/>
        </a:defRPr>
      </a:lvl1pPr>
    </p:titleStyle>
    <p:body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p:bodyStyle>
    <p:otherStyle>
      <a:defPPr>
        <a:defRPr lang="en-US"/>
      </a:defPPr>
      <a:lvl1pPr marL="0" algn="l" defTabSz="3343281" rtl="0" eaLnBrk="1" latinLnBrk="0" hangingPunct="1">
        <a:defRPr sz="6580" kern="1200">
          <a:solidFill>
            <a:schemeClr val="tx1"/>
          </a:solidFill>
          <a:latin typeface="+mn-lt"/>
          <a:ea typeface="+mn-ea"/>
          <a:cs typeface="+mn-cs"/>
        </a:defRPr>
      </a:lvl1pPr>
      <a:lvl2pPr marL="1671639" algn="l" defTabSz="3343281" rtl="0" eaLnBrk="1" latinLnBrk="0" hangingPunct="1">
        <a:defRPr sz="6580" kern="1200">
          <a:solidFill>
            <a:schemeClr val="tx1"/>
          </a:solidFill>
          <a:latin typeface="+mn-lt"/>
          <a:ea typeface="+mn-ea"/>
          <a:cs typeface="+mn-cs"/>
        </a:defRPr>
      </a:lvl2pPr>
      <a:lvl3pPr marL="3343281" algn="l" defTabSz="3343281" rtl="0" eaLnBrk="1" latinLnBrk="0" hangingPunct="1">
        <a:defRPr sz="6580" kern="1200">
          <a:solidFill>
            <a:schemeClr val="tx1"/>
          </a:solidFill>
          <a:latin typeface="+mn-lt"/>
          <a:ea typeface="+mn-ea"/>
          <a:cs typeface="+mn-cs"/>
        </a:defRPr>
      </a:lvl3pPr>
      <a:lvl4pPr marL="5014923" algn="l" defTabSz="3343281" rtl="0" eaLnBrk="1" latinLnBrk="0" hangingPunct="1">
        <a:defRPr sz="6580" kern="1200">
          <a:solidFill>
            <a:schemeClr val="tx1"/>
          </a:solidFill>
          <a:latin typeface="+mn-lt"/>
          <a:ea typeface="+mn-ea"/>
          <a:cs typeface="+mn-cs"/>
        </a:defRPr>
      </a:lvl4pPr>
      <a:lvl5pPr marL="6686564" algn="l" defTabSz="3343281" rtl="0" eaLnBrk="1" latinLnBrk="0" hangingPunct="1">
        <a:defRPr sz="6580" kern="1200">
          <a:solidFill>
            <a:schemeClr val="tx1"/>
          </a:solidFill>
          <a:latin typeface="+mn-lt"/>
          <a:ea typeface="+mn-ea"/>
          <a:cs typeface="+mn-cs"/>
        </a:defRPr>
      </a:lvl5pPr>
      <a:lvl6pPr marL="8358202" algn="l" defTabSz="3343281" rtl="0" eaLnBrk="1" latinLnBrk="0" hangingPunct="1">
        <a:defRPr sz="6580" kern="1200">
          <a:solidFill>
            <a:schemeClr val="tx1"/>
          </a:solidFill>
          <a:latin typeface="+mn-lt"/>
          <a:ea typeface="+mn-ea"/>
          <a:cs typeface="+mn-cs"/>
        </a:defRPr>
      </a:lvl6pPr>
      <a:lvl7pPr marL="10029841" algn="l" defTabSz="3343281" rtl="0" eaLnBrk="1" latinLnBrk="0" hangingPunct="1">
        <a:defRPr sz="6580" kern="1200">
          <a:solidFill>
            <a:schemeClr val="tx1"/>
          </a:solidFill>
          <a:latin typeface="+mn-lt"/>
          <a:ea typeface="+mn-ea"/>
          <a:cs typeface="+mn-cs"/>
        </a:defRPr>
      </a:lvl7pPr>
      <a:lvl8pPr marL="11701485" algn="l" defTabSz="3343281" rtl="0" eaLnBrk="1" latinLnBrk="0" hangingPunct="1">
        <a:defRPr sz="6580" kern="1200">
          <a:solidFill>
            <a:schemeClr val="tx1"/>
          </a:solidFill>
          <a:latin typeface="+mn-lt"/>
          <a:ea typeface="+mn-ea"/>
          <a:cs typeface="+mn-cs"/>
        </a:defRPr>
      </a:lvl8pPr>
      <a:lvl9pPr marL="13373124" algn="l" defTabSz="3343281" rtl="0" eaLnBrk="1" latinLnBrk="0" hangingPunct="1">
        <a:defRPr sz="65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20.jpeg"/><Relationship Id="rId4" Type="http://schemas.openxmlformats.org/officeDocument/2006/relationships/image" Target="../media/image19.jpeg"/></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hyperlink" Target="https://sdgs.un.org/goals/goal3" TargetMode="External"/><Relationship Id="rId7" Type="http://schemas.openxmlformats.org/officeDocument/2006/relationships/image" Target="../media/image23.png"/><Relationship Id="rId2" Type="http://schemas.openxmlformats.org/officeDocument/2006/relationships/hyperlink" Target="https://sdgs.un.org/goals/goal1" TargetMode="External"/><Relationship Id="rId1" Type="http://schemas.openxmlformats.org/officeDocument/2006/relationships/slideLayout" Target="../slideLayouts/slideLayout17.xml"/><Relationship Id="rId6" Type="http://schemas.openxmlformats.org/officeDocument/2006/relationships/hyperlink" Target="https://sdgs.un.org/goals/goal7" TargetMode="External"/><Relationship Id="rId5" Type="http://schemas.openxmlformats.org/officeDocument/2006/relationships/hyperlink" Target="https://sdgs.un.org/goals/goal6" TargetMode="External"/><Relationship Id="rId4" Type="http://schemas.openxmlformats.org/officeDocument/2006/relationships/hyperlink" Target="https://sdgs.un.org/goals/goal5"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7" Type="http://schemas.openxmlformats.org/officeDocument/2006/relationships/image" Target="../media/image23.png"/><Relationship Id="rId2" Type="http://schemas.openxmlformats.org/officeDocument/2006/relationships/hyperlink" Target="https://sdgs.un.org/goals/goal8" TargetMode="External"/><Relationship Id="rId1" Type="http://schemas.openxmlformats.org/officeDocument/2006/relationships/slideLayout" Target="../slideLayouts/slideLayout17.xml"/><Relationship Id="rId6" Type="http://schemas.openxmlformats.org/officeDocument/2006/relationships/hyperlink" Target="https://sdgs.un.org/goals/goal15" TargetMode="External"/><Relationship Id="rId5" Type="http://schemas.openxmlformats.org/officeDocument/2006/relationships/hyperlink" Target="https://sdgs.un.org/goals/goal14" TargetMode="External"/><Relationship Id="rId4" Type="http://schemas.openxmlformats.org/officeDocument/2006/relationships/hyperlink" Target="https://sdgs.un.org/goals/goal13"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chrome-extension://efaidnbmnnnibpcajpcglclefindmkaj/https:/www.entrecompeurope.eu/wp-content/uploads/EntreComp-A-Practical-Guide-English.pdf" TargetMode="Externa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6.xml"/><Relationship Id="rId5" Type="http://schemas.openxmlformats.org/officeDocument/2006/relationships/image" Target="../media/image25.jpe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hyperlink" Target="chrome-extension://efaidnbmnnnibpcajpcglclefindmkaj/https:/www.researchgate.net/profile/Emmanuel-Uniamikogbo/publication/322367106_SUSTAINABILITY_AND_TRIPLE_BOTTOM_LINE_AN_OVERVIEW_OF_TWO_INTERRELATED_CONCEPTS/links/5a563e3eaca272bb6963e2f0/SUSTAINABILITY-AND-TRIPLE-BOTTOM-LINE-AN-OVERVIEW-OF-TWO-INTERRELATED-CONCEPTS.pdf" TargetMode="External"/><Relationship Id="rId2" Type="http://schemas.openxmlformats.org/officeDocument/2006/relationships/hyperlink" Target="https://online.hbs.edu/blog/post/what-is-the-triple-bottom-line" TargetMode="External"/><Relationship Id="rId1" Type="http://schemas.openxmlformats.org/officeDocument/2006/relationships/slideLayout" Target="../slideLayouts/slideLayout10.xml"/><Relationship Id="rId5" Type="http://schemas.openxmlformats.org/officeDocument/2006/relationships/image" Target="../media/image26.jpeg"/><Relationship Id="rId4" Type="http://schemas.openxmlformats.org/officeDocument/2006/relationships/hyperlink" Target="https://www.techtarget.com/whatis/definition/triple-bottom-line-3BL" TargetMode="Externa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tags" Target="../tags/tag7.xml"/><Relationship Id="rId5" Type="http://schemas.openxmlformats.org/officeDocument/2006/relationships/image" Target="../media/image27.jpe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8.xml"/><Relationship Id="rId5" Type="http://schemas.openxmlformats.org/officeDocument/2006/relationships/image" Target="../media/image28.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hyperlink" Target="https://plato.stanford.edu/entries/ethics-deontological/" TargetMode="External"/><Relationship Id="rId2" Type="http://schemas.openxmlformats.org/officeDocument/2006/relationships/hyperlink" Target="https://www.investopedia.com/terms/u/utilitarianism.asp" TargetMode="External"/><Relationship Id="rId1" Type="http://schemas.openxmlformats.org/officeDocument/2006/relationships/slideLayout" Target="../slideLayouts/slideLayout17.xml"/><Relationship Id="rId4" Type="http://schemas.openxmlformats.org/officeDocument/2006/relationships/hyperlink" Target="https://plato.stanford.edu/entries/ethics-virtue/"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14.xml"/><Relationship Id="rId4" Type="http://schemas.openxmlformats.org/officeDocument/2006/relationships/image" Target="../media/image37.jpe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9.jpe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hyperlink" Target="https://www.the-nu-company.com/" TargetMode="External"/><Relationship Id="rId5" Type="http://schemas.openxmlformats.org/officeDocument/2006/relationships/image" Target="../media/image38.jpe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hyperlink" Target="https://fairpreneurs.eu/fairpreneurs-case-study-compendium-curriculum/" TargetMode="External"/><Relationship Id="rId2" Type="http://schemas.openxmlformats.org/officeDocument/2006/relationships/hyperlink" Target="https://www.the-nu-company.com/" TargetMode="External"/><Relationship Id="rId1" Type="http://schemas.openxmlformats.org/officeDocument/2006/relationships/slideLayout" Target="../slideLayouts/slideLayout9.xml"/><Relationship Id="rId4" Type="http://schemas.openxmlformats.org/officeDocument/2006/relationships/image" Target="../media/image40.jpe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2.xml"/><Relationship Id="rId5" Type="http://schemas.openxmlformats.org/officeDocument/2006/relationships/image" Target="../media/image10.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16" TargetMode="External"/><Relationship Id="rId1" Type="http://schemas.openxmlformats.org/officeDocument/2006/relationships/slideLayout" Target="../slideLayouts/slideLayout1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hyperlink" Target="https://www.entrecompeurope.eu/wp-content/uploads/EntreComp-A-Practical-Guide-English.pdf" TargetMode="Externa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25.jpe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hyperlink" Target="https://online.hbs.edu/blog/post/ethical-decision-making-process" TargetMode="External"/><Relationship Id="rId2" Type="http://schemas.openxmlformats.org/officeDocument/2006/relationships/hyperlink" Target="https://www.investopedia.com/terms/b/business-ethics.asp" TargetMode="External"/><Relationship Id="rId1" Type="http://schemas.openxmlformats.org/officeDocument/2006/relationships/slideLayout" Target="../slideLayouts/slideLayout9.xml"/><Relationship Id="rId5" Type="http://schemas.openxmlformats.org/officeDocument/2006/relationships/image" Target="../media/image26.jpeg"/><Relationship Id="rId4" Type="http://schemas.openxmlformats.org/officeDocument/2006/relationships/hyperlink" Target="https://www.forbes.com/sites/williamcraig/2018/10/16/10-things-transparency-can-do-for-your-company/" TargetMode="Externa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41.jpe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42.jpe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14.xml"/><Relationship Id="rId4" Type="http://schemas.openxmlformats.org/officeDocument/2006/relationships/image" Target="../media/image45.png"/></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7.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hyperlink" Target="https://hotel-luise.de/" TargetMode="External"/><Relationship Id="rId5" Type="http://schemas.openxmlformats.org/officeDocument/2006/relationships/image" Target="../media/image46.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hyperlink" Target="https://hotel-luise.de/" TargetMode="Externa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hyperlink" Target="https://sdgs.un.org/goals/goal13" TargetMode="External"/><Relationship Id="rId2" Type="http://schemas.openxmlformats.org/officeDocument/2006/relationships/hyperlink" Target="https://sdgs.un.org/goals/goal12" TargetMode="External"/><Relationship Id="rId1" Type="http://schemas.openxmlformats.org/officeDocument/2006/relationships/slideLayout" Target="../slideLayouts/slideLayout1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hyperlink" Target="https://www.entrecompeurope.eu/wp-content/uploads/EntreComp-A-Practical-Guide-English.pdf" TargetMode="Externa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25.jpe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hyperlink" Target="https://www.british-assessment.co.uk/what-is-sustainable-resource-management-and-how-do-you-achieve-it/" TargetMode="External"/><Relationship Id="rId2" Type="http://schemas.openxmlformats.org/officeDocument/2006/relationships/hyperlink" Target="https://esgresearch.pro/environmental-stewardship/" TargetMode="External"/><Relationship Id="rId1" Type="http://schemas.openxmlformats.org/officeDocument/2006/relationships/slideLayout" Target="../slideLayouts/slideLayout9.xml"/><Relationship Id="rId5" Type="http://schemas.openxmlformats.org/officeDocument/2006/relationships/image" Target="../media/image26.jpeg"/><Relationship Id="rId4" Type="http://schemas.openxmlformats.org/officeDocument/2006/relationships/hyperlink" Target="https://www.c2es.org/content/business-strategies-to-address-climate-change/" TargetMode="Externa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15.xml"/><Relationship Id="rId5" Type="http://schemas.openxmlformats.org/officeDocument/2006/relationships/image" Target="../media/image52.jpe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53.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6.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14.xml"/><Relationship Id="rId5" Type="http://schemas.openxmlformats.org/officeDocument/2006/relationships/image" Target="../media/image59.jpeg"/><Relationship Id="rId4" Type="http://schemas.openxmlformats.org/officeDocument/2006/relationships/hyperlink" Target="https://en.wikipedia.org/wiki/File:Information_magnifier_icon.png"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14.xml"/><Relationship Id="rId4" Type="http://schemas.openxmlformats.org/officeDocument/2006/relationships/image" Target="../media/image62.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3" Type="http://schemas.openxmlformats.org/officeDocument/2006/relationships/hyperlink" Target="https://sdgs.un.org/goals/goal10" TargetMode="External"/><Relationship Id="rId2" Type="http://schemas.openxmlformats.org/officeDocument/2006/relationships/hyperlink" Target="https://sdgs.un.org/goals/goal8" TargetMode="External"/><Relationship Id="rId1" Type="http://schemas.openxmlformats.org/officeDocument/2006/relationships/slideLayout" Target="../slideLayouts/slideLayout1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hyperlink" Target="https://www.entrecompeurope.eu/wp-content/uploads/EntreComp-A-Practical-Guide-English.pdf" TargetMode="Externa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25.jpeg"/><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hyperlink" Target="https://corpgov.law.harvard.edu/2011/06/26/the-business-case-for-corporate-social-responsibility/" TargetMode="External"/><Relationship Id="rId2" Type="http://schemas.openxmlformats.org/officeDocument/2006/relationships/hyperlink" Target="chrome-extension://efaidnbmnnnibpcajpcglclefindmkaj/https:/www.communitylivingbc.ca/wp-content/uploads/2018/05/Creating-Shared-Value.pdf" TargetMode="External"/><Relationship Id="rId1" Type="http://schemas.openxmlformats.org/officeDocument/2006/relationships/slideLayout" Target="../slideLayouts/slideLayout9.xml"/><Relationship Id="rId5" Type="http://schemas.openxmlformats.org/officeDocument/2006/relationships/image" Target="../media/image26.jpeg"/><Relationship Id="rId4" Type="http://schemas.openxmlformats.org/officeDocument/2006/relationships/hyperlink" Target="https://youtu.be/Z5KZhm19EO0?feature=shared" TargetMode="Externa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18.xml"/><Relationship Id="rId5" Type="http://schemas.openxmlformats.org/officeDocument/2006/relationships/image" Target="../media/image63.jpeg"/><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64.jpeg"/><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hyperlink" Target="https://sdgs.un.org/goals/goal9" TargetMode="External"/><Relationship Id="rId2" Type="http://schemas.openxmlformats.org/officeDocument/2006/relationships/hyperlink" Target="https://sdgs.un.org/goals/goal8" TargetMode="External"/><Relationship Id="rId1" Type="http://schemas.openxmlformats.org/officeDocument/2006/relationships/slideLayout" Target="../slideLayouts/slideLayout17.xml"/><Relationship Id="rId6" Type="http://schemas.openxmlformats.org/officeDocument/2006/relationships/image" Target="../media/image23.png"/><Relationship Id="rId5" Type="http://schemas.openxmlformats.org/officeDocument/2006/relationships/hyperlink" Target="https://sdgs.un.org/goals/goal12" TargetMode="External"/><Relationship Id="rId4" Type="http://schemas.openxmlformats.org/officeDocument/2006/relationships/hyperlink" Target="https://sdgs.un.org/goals/goal10"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www.entrecompeurope.eu/wp-content/uploads/EntreComp-A-Practical-Guide-English.pdf" TargetMode="External"/><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5.xml"/><Relationship Id="rId1" Type="http://schemas.openxmlformats.org/officeDocument/2006/relationships/tags" Target="../tags/tag20.xml"/><Relationship Id="rId5" Type="http://schemas.openxmlformats.org/officeDocument/2006/relationships/image" Target="../media/image25.jpeg"/><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xml"/><Relationship Id="rId1" Type="http://schemas.openxmlformats.org/officeDocument/2006/relationships/slideLayout" Target="../slideLayouts/slideLayout19.xml"/><Relationship Id="rId4" Type="http://schemas.openxmlformats.org/officeDocument/2006/relationships/image" Target="../media/image69.sv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4.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image" Target="../media/image15.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21FA40D-CF6B-E047-B73E-EF37BCEF7A08}"/>
              </a:ext>
            </a:extLst>
          </p:cNvPr>
          <p:cNvSpPr>
            <a:spLocks noGrp="1"/>
          </p:cNvSpPr>
          <p:nvPr>
            <p:ph type="body" sz="quarter" idx="16"/>
          </p:nvPr>
        </p:nvSpPr>
        <p:spPr>
          <a:xfrm>
            <a:off x="596956" y="4294045"/>
            <a:ext cx="4532141" cy="1258512"/>
          </a:xfrm>
        </p:spPr>
        <p:txBody>
          <a:bodyPr>
            <a:normAutofit/>
          </a:bodyPr>
          <a:lstStyle/>
          <a:p>
            <a:pPr>
              <a:lnSpc>
                <a:spcPts val="3054"/>
              </a:lnSpc>
            </a:pPr>
            <a:r>
              <a:rPr lang="en-US" sz="3600" b="0" dirty="0"/>
              <a:t>Nachhaltige Geschäftsgrundlagen</a:t>
            </a:r>
            <a:endParaRPr lang="en-US" sz="3200" dirty="0"/>
          </a:p>
        </p:txBody>
      </p:sp>
      <p:sp>
        <p:nvSpPr>
          <p:cNvPr id="5" name="Text Placeholder 4">
            <a:extLst>
              <a:ext uri="{FF2B5EF4-FFF2-40B4-BE49-F238E27FC236}">
                <a16:creationId xmlns:a16="http://schemas.microsoft.com/office/drawing/2014/main" id="{B9EB3164-8431-CA66-1469-5F71234B178B}"/>
              </a:ext>
            </a:extLst>
          </p:cNvPr>
          <p:cNvSpPr>
            <a:spLocks noGrp="1"/>
          </p:cNvSpPr>
          <p:nvPr>
            <p:ph type="body" sz="quarter" idx="19"/>
          </p:nvPr>
        </p:nvSpPr>
        <p:spPr>
          <a:xfrm>
            <a:off x="596956" y="3429000"/>
            <a:ext cx="3311988" cy="533188"/>
          </a:xfrm>
        </p:spPr>
        <p:txBody>
          <a:bodyPr/>
          <a:lstStyle/>
          <a:p>
            <a:r>
              <a:rPr lang="en-US" sz="3600" b="1"/>
              <a:t>Modul 1</a:t>
            </a:r>
            <a:endParaRPr lang="en-US" sz="3600" b="1" dirty="0"/>
          </a:p>
        </p:txBody>
      </p:sp>
      <p:sp>
        <p:nvSpPr>
          <p:cNvPr id="8" name="Text Placeholder 7">
            <a:extLst>
              <a:ext uri="{FF2B5EF4-FFF2-40B4-BE49-F238E27FC236}">
                <a16:creationId xmlns:a16="http://schemas.microsoft.com/office/drawing/2014/main" id="{0E29F1A2-5681-F486-F1FC-116A3CB29DFE}"/>
              </a:ext>
            </a:extLst>
          </p:cNvPr>
          <p:cNvSpPr>
            <a:spLocks noGrp="1"/>
          </p:cNvSpPr>
          <p:nvPr>
            <p:ph type="body" sz="quarter" idx="45"/>
          </p:nvPr>
        </p:nvSpPr>
        <p:spPr/>
        <p:txBody>
          <a:bodyPr>
            <a:normAutofit/>
          </a:bodyPr>
          <a:lstStyle/>
          <a:p>
            <a:r>
              <a:rPr lang="en-US" b="1" dirty="0" err="1"/>
              <a:t>www.fairpreneurs.eu</a:t>
            </a:r>
            <a:endParaRPr lang="en-US" dirty="0"/>
          </a:p>
        </p:txBody>
      </p:sp>
      <p:sp>
        <p:nvSpPr>
          <p:cNvPr id="3" name="Slide Number Placeholder 2">
            <a:extLst>
              <a:ext uri="{FF2B5EF4-FFF2-40B4-BE49-F238E27FC236}">
                <a16:creationId xmlns:a16="http://schemas.microsoft.com/office/drawing/2014/main" id="{8B51DB12-F7FD-5442-9AD5-321562BAB22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a:t>
            </a:fld>
            <a:endParaRPr lang="en-US" dirty="0"/>
          </a:p>
        </p:txBody>
      </p:sp>
      <p:cxnSp>
        <p:nvCxnSpPr>
          <p:cNvPr id="24" name="Straight Connector 23">
            <a:extLst>
              <a:ext uri="{FF2B5EF4-FFF2-40B4-BE49-F238E27FC236}">
                <a16:creationId xmlns:a16="http://schemas.microsoft.com/office/drawing/2014/main" id="{2504AA71-D51D-6ED2-6D46-01B43E4D5C22}"/>
              </a:ext>
            </a:extLst>
          </p:cNvPr>
          <p:cNvCxnSpPr>
            <a:cxnSpLocks/>
          </p:cNvCxnSpPr>
          <p:nvPr/>
        </p:nvCxnSpPr>
        <p:spPr>
          <a:xfrm>
            <a:off x="0" y="4102142"/>
            <a:ext cx="3879155" cy="0"/>
          </a:xfrm>
          <a:prstGeom prst="line">
            <a:avLst/>
          </a:prstGeom>
          <a:ln w="28575">
            <a:solidFill>
              <a:srgbClr val="60BA47"/>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5A7CFA5-3EB9-A64C-4371-E63D23F39BB0}"/>
              </a:ext>
            </a:extLst>
          </p:cNvPr>
          <p:cNvGrpSpPr/>
          <p:nvPr/>
        </p:nvGrpSpPr>
        <p:grpSpPr>
          <a:xfrm rot="16200000">
            <a:off x="8470129" y="1512722"/>
            <a:ext cx="5074615" cy="2369127"/>
            <a:chOff x="-1871944" y="1778846"/>
            <a:chExt cx="1736764" cy="810823"/>
          </a:xfrm>
          <a:solidFill>
            <a:schemeClr val="bg1">
              <a:alpha val="56867"/>
            </a:schemeClr>
          </a:solidFill>
        </p:grpSpPr>
        <p:sp>
          <p:nvSpPr>
            <p:cNvPr id="10" name="Freeform 9">
              <a:extLst>
                <a:ext uri="{FF2B5EF4-FFF2-40B4-BE49-F238E27FC236}">
                  <a16:creationId xmlns:a16="http://schemas.microsoft.com/office/drawing/2014/main" id="{18E77BB1-01B6-C0A2-7EF3-78865D0C1E02}"/>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7065986-B5DB-C12F-C833-500370042D27}"/>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703CD9-550C-574B-24B7-1A0A9A62020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840FA4E-4161-76C1-13E1-6C0DA4D7E15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A2CB2B3-2AF2-1580-AA48-5B234A4993E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8292ABE-DE10-1A82-E0D3-0CAB03998F78}"/>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912CBA52-9586-E192-0B65-E51B3A647D25}"/>
              </a:ext>
            </a:extLst>
          </p:cNvPr>
          <p:cNvSpPr txBox="1"/>
          <p:nvPr/>
        </p:nvSpPr>
        <p:spPr>
          <a:xfrm>
            <a:off x="252700" y="6534834"/>
            <a:ext cx="40005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dirty="0">
                <a:solidFill>
                  <a:srgbClr val="11496E"/>
                </a:solidFill>
                <a:latin typeface="Calibri" panose="020F0502020204030204" pitchFamily="34" charset="0"/>
                <a:ea typeface="Open Sans" panose="020B0606030504020204" pitchFamily="34" charset="0"/>
                <a:cs typeface="Calibri" panose="020F0502020204030204" pitchFamily="34" charset="0"/>
              </a:rPr>
              <a:t>Diese Studie ist unter der CC BY-NC-SA-Lizenz verfügbar.</a:t>
            </a:r>
          </a:p>
        </p:txBody>
      </p:sp>
      <p:sp>
        <p:nvSpPr>
          <p:cNvPr id="4" name="TextBox 3">
            <a:extLst>
              <a:ext uri="{FF2B5EF4-FFF2-40B4-BE49-F238E27FC236}">
                <a16:creationId xmlns:a16="http://schemas.microsoft.com/office/drawing/2014/main" id="{E06FAFE9-48A0-8B5B-199E-5701E7059D41}"/>
              </a:ext>
            </a:extLst>
          </p:cNvPr>
          <p:cNvSpPr txBox="1"/>
          <p:nvPr/>
        </p:nvSpPr>
        <p:spPr>
          <a:xfrm>
            <a:off x="2704665" y="5973501"/>
            <a:ext cx="2942108"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Kofinanziert von der Europäischen Union. Die geäußerten Ansichten und Meinungen sind jedoch ausschließlich die des Autors bzw. der Autoren und spiegeln nicht unbedingt die der Europäischen Union oder der Stiftung für die Entwicklung des Bildungswesens wider. Weder die Europäische Union noch die Einrichtung, die den Zuschuss gewährt, können für diese verantwortlich gemacht werden. 2022-1-PL01-KA220-YOU-000087822</a:t>
            </a:r>
            <a:endParaRPr lang="en-IE" sz="700"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pic>
        <p:nvPicPr>
          <p:cNvPr id="6" name="Picture Placeholder 6">
            <a:extLst>
              <a:ext uri="{FF2B5EF4-FFF2-40B4-BE49-F238E27FC236}">
                <a16:creationId xmlns:a16="http://schemas.microsoft.com/office/drawing/2014/main" id="{CF286778-7DB4-9589-CA01-05D03E92C5F6}"/>
              </a:ext>
            </a:extLst>
          </p:cNvPr>
          <p:cNvPicPr>
            <a:picLocks noGrp="1" noChangeAspect="1"/>
          </p:cNvPicPr>
          <p:nvPr>
            <p:ph type="pic" sz="quarter" idx="44"/>
          </p:nvPr>
        </p:nvPicPr>
        <p:blipFill rotWithShape="1">
          <a:blip r:embed="rId3" cstate="email">
            <a:extLst>
              <a:ext uri="{28A0092B-C50C-407E-A947-70E740481C1C}">
                <a14:useLocalDpi xmlns:a14="http://schemas.microsoft.com/office/drawing/2010/main"/>
              </a:ext>
            </a:extLst>
          </a:blip>
          <a:srcRect l="23750" r="23750"/>
          <a:stretch/>
        </p:blipFill>
        <p:spPr>
          <a:xfrm>
            <a:off x="5718175" y="14288"/>
            <a:ext cx="5534025" cy="6880225"/>
          </a:xfrm>
        </p:spPr>
      </p:pic>
    </p:spTree>
    <p:extLst>
      <p:ext uri="{BB962C8B-B14F-4D97-AF65-F5344CB8AC3E}">
        <p14:creationId xmlns:p14="http://schemas.microsoft.com/office/powerpoint/2010/main" val="28663168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A6E434-9645-43ED-7975-3124BA76AA83}"/>
              </a:ext>
            </a:extLst>
          </p:cNvPr>
          <p:cNvSpPr txBox="1"/>
          <p:nvPr/>
        </p:nvSpPr>
        <p:spPr>
          <a:xfrm>
            <a:off x="11494889" y="2974206"/>
            <a:ext cx="576060" cy="3782729"/>
          </a:xfrm>
          <a:prstGeom prst="rect">
            <a:avLst/>
          </a:prstGeom>
          <a:solidFill>
            <a:schemeClr val="bg1"/>
          </a:solidFill>
        </p:spPr>
        <p:txBody>
          <a:bodyPr wrap="square" rtlCol="0">
            <a:spAutoFit/>
          </a:bodyPr>
          <a:lstStyle/>
          <a:p>
            <a:endParaRPr lang="en-IE" dirty="0"/>
          </a:p>
        </p:txBody>
      </p:sp>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209462" y="328584"/>
            <a:ext cx="4951851" cy="1115592"/>
          </a:xfrm>
        </p:spPr>
        <p:txBody>
          <a:bodyPr/>
          <a:lstStyle/>
          <a:p>
            <a:r>
              <a:rPr lang="en-US" dirty="0"/>
              <a:t>TBL-PRINZIPI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209461" y="1141169"/>
            <a:ext cx="5875886" cy="4559972"/>
          </a:xfrm>
        </p:spPr>
        <p:txBody>
          <a:bodyPr/>
          <a:lstStyle/>
          <a:p>
            <a:pPr>
              <a:spcAft>
                <a:spcPts val="600"/>
              </a:spcAft>
            </a:pPr>
            <a:r>
              <a:rPr lang="en-GB" sz="2000" dirty="0"/>
              <a:t>Der Triple-Bottom-Line-Ansatz (TBL) erweitert den traditionellen Fokus auf die finanzielle Leistung (Gewinn) um soziale (Menschen) und ökologische (Planet) Auswirkungen. </a:t>
            </a:r>
          </a:p>
          <a:p>
            <a:pPr>
              <a:spcAft>
                <a:spcPts val="600"/>
              </a:spcAft>
            </a:pPr>
            <a:r>
              <a:rPr lang="en-GB" sz="2000" dirty="0"/>
              <a:t>Dieser umfassende Rahmen unterstreicht, dass echter unternehmerischer Erfolg ein Gleichgewicht zwischen wirtschaftlichem Wohlstand, sozialer Gerechtigkeit und ökologischer Nachhaltigkeit erfordert. </a:t>
            </a:r>
          </a:p>
          <a:p>
            <a:pPr>
              <a:spcAft>
                <a:spcPts val="600"/>
              </a:spcAft>
            </a:pPr>
            <a:r>
              <a:rPr lang="en-GB" sz="2000" dirty="0"/>
              <a:t>Das Verständnis von TBL ist für moderne Unternehmen von entscheidender Bedeutung, da es eine ganzheitliche Perspektive fördert, die die breiteren Auswirkungen ihrer Entscheidungen auf die Gesellschaft und die Umwelt berücksichtigt.</a:t>
            </a:r>
          </a:p>
          <a:p>
            <a:pPr>
              <a:spcAft>
                <a:spcPts val="600"/>
              </a:spcAft>
            </a:pPr>
            <a:r>
              <a:rPr lang="en-GB" sz="2000" dirty="0"/>
              <a:t>Die wirtschaftliche, die soziale und die ökologische Dimension von TBL sind miteinander verknüpft und beeinflussen sich gegenseitig erheblich.</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0</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3" name="Picture Placeholder 4">
            <a:extLst>
              <a:ext uri="{FF2B5EF4-FFF2-40B4-BE49-F238E27FC236}">
                <a16:creationId xmlns:a16="http://schemas.microsoft.com/office/drawing/2014/main" id="{D1E04F8A-141A-C150-86FA-7A6EB27B6DCF}"/>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1441" r="21441"/>
          <a:stretch/>
        </p:blipFill>
        <p:spPr>
          <a:xfrm>
            <a:off x="0" y="0"/>
            <a:ext cx="5875338" cy="6858000"/>
          </a:xfrm>
        </p:spPr>
      </p:pic>
    </p:spTree>
    <p:extLst>
      <p:ext uri="{BB962C8B-B14F-4D97-AF65-F5344CB8AC3E}">
        <p14:creationId xmlns:p14="http://schemas.microsoft.com/office/powerpoint/2010/main" val="6610435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79592AE9-42AD-CDF9-0188-65F7D3DB9BB7}"/>
              </a:ext>
            </a:extLst>
          </p:cNvPr>
          <p:cNvSpPr txBox="1"/>
          <p:nvPr/>
        </p:nvSpPr>
        <p:spPr>
          <a:xfrm>
            <a:off x="11494889" y="2974206"/>
            <a:ext cx="576060" cy="3782729"/>
          </a:xfrm>
          <a:prstGeom prst="rect">
            <a:avLst/>
          </a:prstGeom>
          <a:solidFill>
            <a:schemeClr val="bg1"/>
          </a:solidFill>
        </p:spPr>
        <p:txBody>
          <a:bodyPr wrap="square" rtlCol="0">
            <a:spAutoFit/>
          </a:bodyPr>
          <a:lstStyle/>
          <a:p>
            <a:endParaRPr lang="en-IE" dirty="0"/>
          </a:p>
        </p:txBody>
      </p:sp>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a:xfrm>
            <a:off x="3582466" y="332476"/>
            <a:ext cx="7526545" cy="564500"/>
          </a:xfrm>
        </p:spPr>
        <p:txBody>
          <a:bodyPr/>
          <a:lstStyle/>
          <a:p>
            <a:r>
              <a:rPr lang="en-IE" sz="3000" dirty="0"/>
              <a:t>Wirtschaftliche Dimension</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594647" y="820395"/>
            <a:ext cx="8109673" cy="945874"/>
          </a:xfrm>
        </p:spPr>
        <p:txBody>
          <a:bodyPr/>
          <a:lstStyle/>
          <a:p>
            <a:r>
              <a:rPr lang="en-GB" sz="1800" dirty="0"/>
              <a:t>Der Schwerpunkt liegt auf Rentabilität und finanzieller Nachhaltigkeit. Unternehmen müssen ihre Kosten im Griff haben, Einnahmen erzielen und ihre langfristige finanzielle Gesundheit sicherstellen. Der wirtschaftliche Erfolg sollte jedoch nicht auf Kosten der sozialen und ökologischen Verantwortung gehen.</a:t>
            </a:r>
            <a:endParaRPr lang="en-IE" sz="1800" dirty="0"/>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582466" y="2215951"/>
            <a:ext cx="7526545" cy="730066"/>
          </a:xfrm>
        </p:spPr>
        <p:txBody>
          <a:bodyPr/>
          <a:lstStyle/>
          <a:p>
            <a:r>
              <a:rPr lang="en-IE" sz="3000" dirty="0"/>
              <a:t>Soziale Dimension</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594651" y="2667556"/>
            <a:ext cx="8109674" cy="945874"/>
          </a:xfrm>
        </p:spPr>
        <p:txBody>
          <a:bodyPr/>
          <a:lstStyle/>
          <a:p>
            <a:r>
              <a:rPr lang="en-GB" sz="1800" dirty="0"/>
              <a:t>Beinhaltet faire Arbeitspraktiken, das Wohlergehen der Mitarbeiter, das Engagement für die Gemeinschaft und soziale Gerechtigkeit. Positive soziale Praktiken können den Ruf eines Unternehmens, die Arbeitsmoral und die Produktivität verbessern. Unternehmen, die das Wohlbefinden ihrer Mitarbeiter fördern, verzeichnen beispielsweise häufig eine geringere Fluktuationsrate und mehr Innovation.</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594647" y="4320241"/>
            <a:ext cx="7526545" cy="730066"/>
          </a:xfrm>
        </p:spPr>
        <p:txBody>
          <a:bodyPr/>
          <a:lstStyle/>
          <a:p>
            <a:r>
              <a:rPr lang="en-IE" sz="3000" dirty="0"/>
              <a:t>Ökologische Dimension</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594651" y="4811244"/>
            <a:ext cx="8476298" cy="945874"/>
          </a:xfrm>
        </p:spPr>
        <p:txBody>
          <a:bodyPr/>
          <a:lstStyle/>
          <a:p>
            <a:r>
              <a:rPr lang="en-GB" sz="1800" dirty="0"/>
              <a:t>Umfasst nachhaltige Praktiken wie Abfallmanagement, Ressourcenschonung und Reduzierung des CO2-Fußabdrucks. Umweltverantwortung kann zu Kosteneinsparungen, zur Einhaltung von Vorschriften und zur Verbesserung des Markenrufs führen. Unternehmen, die eine effiziente Abfallentsorgung und Ressourcenschonung betreiben, können ihre Betriebskosten senken und Umweltrisiken mindern.</a:t>
            </a:r>
            <a:endParaRPr lang="en-IE" sz="1800" dirty="0"/>
          </a:p>
        </p:txBody>
      </p:sp>
      <p:pic>
        <p:nvPicPr>
          <p:cNvPr id="8" name="Picture Placeholder 11" descr="Stacks of gold coins">
            <a:extLst>
              <a:ext uri="{FF2B5EF4-FFF2-40B4-BE49-F238E27FC236}">
                <a16:creationId xmlns:a16="http://schemas.microsoft.com/office/drawing/2014/main" id="{D0814033-A22E-C63F-4847-C352872AFEF3}"/>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1862" r="11862"/>
          <a:stretch>
            <a:fillRect/>
          </a:stretch>
        </p:blipFill>
        <p:spPr>
          <a:xfrm>
            <a:off x="1449388" y="409575"/>
            <a:ext cx="1839912" cy="1608138"/>
          </a:xfrm>
          <a:solidFill>
            <a:schemeClr val="bg1"/>
          </a:solidFill>
          <a:ln>
            <a:solidFill>
              <a:srgbClr val="0F486D"/>
            </a:solidFill>
          </a:ln>
        </p:spPr>
      </p:pic>
      <p:pic>
        <p:nvPicPr>
          <p:cNvPr id="10" name="Picture Placeholder 13" descr="Close-up of several hands with palms facing down pointing towards center, overlapping">
            <a:extLst>
              <a:ext uri="{FF2B5EF4-FFF2-40B4-BE49-F238E27FC236}">
                <a16:creationId xmlns:a16="http://schemas.microsoft.com/office/drawing/2014/main" id="{41A44E25-8B5A-53E0-8AA4-53634AB3C6EE}"/>
              </a:ext>
            </a:extLst>
          </p:cNvPr>
          <p:cNvPicPr>
            <a:picLocks noGrp="1" noChangeAspect="1"/>
          </p:cNvPicPr>
          <p:nvPr>
            <p:ph type="pic" sz="quarter" idx="56"/>
          </p:nvPr>
        </p:nvPicPr>
        <p:blipFill>
          <a:blip r:embed="rId4" cstate="email">
            <a:extLst>
              <a:ext uri="{28A0092B-C50C-407E-A947-70E740481C1C}">
                <a14:useLocalDpi xmlns:a14="http://schemas.microsoft.com/office/drawing/2010/main"/>
              </a:ext>
            </a:extLst>
          </a:blip>
          <a:srcRect t="1416" b="1416"/>
          <a:stretch>
            <a:fillRect/>
          </a:stretch>
        </p:blipFill>
        <p:spPr>
          <a:xfrm>
            <a:off x="1449388" y="2506663"/>
            <a:ext cx="1839912" cy="1608137"/>
          </a:xfrm>
          <a:solidFill>
            <a:schemeClr val="bg1"/>
          </a:solidFill>
          <a:ln>
            <a:solidFill>
              <a:srgbClr val="0F486D"/>
            </a:solidFill>
          </a:ln>
        </p:spPr>
      </p:pic>
      <p:pic>
        <p:nvPicPr>
          <p:cNvPr id="12" name="Picture Placeholder 15" descr="New potted sprout held by pair of hands">
            <a:extLst>
              <a:ext uri="{FF2B5EF4-FFF2-40B4-BE49-F238E27FC236}">
                <a16:creationId xmlns:a16="http://schemas.microsoft.com/office/drawing/2014/main" id="{8B1C2288-EEC9-D3C9-C322-D9AD2A101E96}"/>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l="11819" r="11819"/>
          <a:stretch>
            <a:fillRect/>
          </a:stretch>
        </p:blipFill>
        <p:spPr>
          <a:xfrm>
            <a:off x="1449388" y="4603750"/>
            <a:ext cx="1839912" cy="1608138"/>
          </a:xfrm>
          <a:solidFill>
            <a:schemeClr val="bg1"/>
          </a:solidFill>
          <a:ln>
            <a:solidFill>
              <a:srgbClr val="0F486D"/>
            </a:solidFill>
          </a:ln>
        </p:spPr>
      </p:pic>
    </p:spTree>
    <p:extLst>
      <p:ext uri="{BB962C8B-B14F-4D97-AF65-F5344CB8AC3E}">
        <p14:creationId xmlns:p14="http://schemas.microsoft.com/office/powerpoint/2010/main" val="2852152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p:txBody>
          <a:bodyPr/>
          <a:lstStyle/>
          <a:p>
            <a:r>
              <a:rPr lang="en-IE" sz="3000" dirty="0"/>
              <a:t>Mitarbeiter-Wohlbefinden</a:t>
            </a:r>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a:xfrm>
            <a:off x="3867663" y="2257013"/>
            <a:ext cx="7160273" cy="945874"/>
          </a:xfrm>
        </p:spPr>
        <p:txBody>
          <a:bodyPr/>
          <a:lstStyle/>
          <a:p>
            <a:r>
              <a:rPr lang="en-GB" sz="2200" dirty="0"/>
              <a:t>Investitionen in das Wohlergehen der Mitarbeiter durch faire Löhne, sichere Arbeitsbedingungen und berufliche Weiterbildung können zu höherer Produktivität und Loyalität führen, was wiederum die finanzielle Leistung verbessert.</a:t>
            </a:r>
            <a:endParaRPr lang="en-IE" sz="2200" dirty="0"/>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p:txBody>
          <a:bodyPr/>
          <a:lstStyle/>
          <a:p>
            <a:r>
              <a:rPr lang="en-GB" sz="3000" dirty="0"/>
              <a:t>Umweltpolitische Maßnahmen</a:t>
            </a:r>
            <a:endParaRPr lang="en-IE" sz="3000" dirty="0"/>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a:xfrm>
            <a:off x="3867663" y="4866648"/>
            <a:ext cx="7160273" cy="945874"/>
          </a:xfrm>
        </p:spPr>
        <p:txBody>
          <a:bodyPr/>
          <a:lstStyle/>
          <a:p>
            <a:r>
              <a:rPr lang="en-GB" sz="2200" dirty="0"/>
              <a:t>Die Umsetzung einer nachhaltigen Umweltpolitik, z. B. die Reduzierung von Emissionen und Abfällen, kann die Kosten senken, die Einhaltung von Vorschriften verbessern und den Ruf des Unternehmens bei Verbrauchern und Investoren stärken.</a:t>
            </a:r>
            <a:endParaRPr lang="en-IE" sz="2200" dirty="0"/>
          </a:p>
        </p:txBody>
      </p:sp>
      <p:sp>
        <p:nvSpPr>
          <p:cNvPr id="9" name="TextBox 8">
            <a:extLst>
              <a:ext uri="{FF2B5EF4-FFF2-40B4-BE49-F238E27FC236}">
                <a16:creationId xmlns:a16="http://schemas.microsoft.com/office/drawing/2014/main" id="{5C6477A3-B312-6E78-5C0A-39792DAB69F4}"/>
              </a:ext>
            </a:extLst>
          </p:cNvPr>
          <p:cNvSpPr txBox="1"/>
          <p:nvPr/>
        </p:nvSpPr>
        <p:spPr>
          <a:xfrm>
            <a:off x="832540" y="356583"/>
            <a:ext cx="11071438" cy="830997"/>
          </a:xfrm>
          <a:prstGeom prst="rect">
            <a:avLst/>
          </a:prstGeom>
          <a:noFill/>
        </p:spPr>
        <p:txBody>
          <a:bodyPr wrap="square">
            <a:spAutoFit/>
          </a:bodyPr>
          <a:lstStyle/>
          <a:p>
            <a:pPr algn="just"/>
            <a:r>
              <a:rPr lang="en-GB" sz="2400" b="1" dirty="0">
                <a:solidFill>
                  <a:srgbClr val="11496E"/>
                </a:solidFill>
                <a:latin typeface="Calibri" panose="020F0502020204030204" pitchFamily="34" charset="0"/>
                <a:ea typeface="Open Sans" panose="020B0606030504020204" pitchFamily="34" charset="0"/>
                <a:cs typeface="Calibri" panose="020F0502020204030204" pitchFamily="34" charset="0"/>
              </a:rPr>
              <a:t>Die Rentabilität eines Unternehmens kann durch seine sozialen und ökologischen Praktiken erheblich beeinflusst werden. Zum Beispiel:</a:t>
            </a:r>
            <a:endParaRPr lang="en-US" sz="2400" b="1"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pic>
        <p:nvPicPr>
          <p:cNvPr id="6" name="Picture Placeholder 13">
            <a:extLst>
              <a:ext uri="{FF2B5EF4-FFF2-40B4-BE49-F238E27FC236}">
                <a16:creationId xmlns:a16="http://schemas.microsoft.com/office/drawing/2014/main" id="{F45EF546-3749-3597-141C-ECDD0386E2A5}"/>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t="158" b="158"/>
          <a:stretch/>
        </p:blipFill>
        <p:spPr>
          <a:xfrm>
            <a:off x="1425575" y="1687513"/>
            <a:ext cx="1838325" cy="1608137"/>
          </a:xfrm>
          <a:ln>
            <a:solidFill>
              <a:srgbClr val="0F486D"/>
            </a:solidFill>
          </a:ln>
        </p:spPr>
      </p:pic>
      <p:pic>
        <p:nvPicPr>
          <p:cNvPr id="8" name="Picture Placeholder 15" descr="Globe and two hands">
            <a:extLst>
              <a:ext uri="{FF2B5EF4-FFF2-40B4-BE49-F238E27FC236}">
                <a16:creationId xmlns:a16="http://schemas.microsoft.com/office/drawing/2014/main" id="{8881F6FE-7510-3BE8-386B-52AB6845FD29}"/>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t="18552" b="18552"/>
          <a:stretch/>
        </p:blipFill>
        <p:spPr>
          <a:xfrm>
            <a:off x="1425575" y="4360863"/>
            <a:ext cx="1838325" cy="1608137"/>
          </a:xfrm>
          <a:ln>
            <a:solidFill>
              <a:srgbClr val="0F486D"/>
            </a:solidFill>
          </a:ln>
        </p:spPr>
      </p:pic>
    </p:spTree>
    <p:extLst>
      <p:ext uri="{BB962C8B-B14F-4D97-AF65-F5344CB8AC3E}">
        <p14:creationId xmlns:p14="http://schemas.microsoft.com/office/powerpoint/2010/main" val="245377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567665" y="640454"/>
            <a:ext cx="11056669" cy="804265"/>
          </a:xfrm>
        </p:spPr>
        <p:txBody>
          <a:bodyPr/>
          <a:lstStyle/>
          <a:p>
            <a:r>
              <a:rPr lang="en-US" dirty="0"/>
              <a:t>AUSRICHTUNG AUF DIE ZIELE DER NACHHALTIGEN ENTWICKLUNG</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5" y="1622253"/>
            <a:ext cx="9239741" cy="4439577"/>
          </a:xfrm>
        </p:spPr>
        <p:txBody>
          <a:bodyPr/>
          <a:lstStyle/>
          <a:p>
            <a:pPr>
              <a:spcAft>
                <a:spcPts val="1000"/>
              </a:spcAft>
            </a:pPr>
            <a:r>
              <a:rPr lang="en-GB" sz="2000" b="1" dirty="0">
                <a:solidFill>
                  <a:srgbClr val="0F486D"/>
                </a:solidFill>
                <a:hlinkClick r:id="rId2">
                  <a:extLst>
                    <a:ext uri="{A12FA001-AC4F-418D-AE19-62706E023703}">
                      <ahyp:hlinkClr xmlns:ahyp="http://schemas.microsoft.com/office/drawing/2018/hyperlinkcolor" val="tx"/>
                    </a:ext>
                  </a:extLst>
                </a:hlinkClick>
              </a:rPr>
              <a:t>SDG 1: Keine Armut: </a:t>
            </a:r>
            <a:r>
              <a:rPr lang="en-GB" sz="2000" dirty="0"/>
              <a:t>Durch die Gewährleistung fairer Löhne und ethischer Geschäftspraktiken trägt TBL zur Armutsbekämpfung bei.</a:t>
            </a:r>
          </a:p>
          <a:p>
            <a:pPr>
              <a:spcAft>
                <a:spcPts val="1000"/>
              </a:spcAft>
            </a:pPr>
            <a:r>
              <a:rPr lang="en-GB" sz="2000" b="1" dirty="0">
                <a:solidFill>
                  <a:srgbClr val="0F486D"/>
                </a:solidFill>
                <a:hlinkClick r:id="rId3">
                  <a:extLst>
                    <a:ext uri="{A12FA001-AC4F-418D-AE19-62706E023703}">
                      <ahyp:hlinkClr xmlns:ahyp="http://schemas.microsoft.com/office/drawing/2018/hyperlinkcolor" val="tx"/>
                    </a:ext>
                  </a:extLst>
                </a:hlinkClick>
              </a:rPr>
              <a:t>SDG 3: Gute Gesundheit und Wohlbefinden</a:t>
            </a:r>
            <a:r>
              <a:rPr lang="en-GB" sz="2000" b="1" dirty="0"/>
              <a:t>: </a:t>
            </a:r>
            <a:r>
              <a:rPr lang="en-GB" sz="2000" dirty="0"/>
              <a:t>Die Umsetzung von TBL führt zu einer Verbesserung von Gesundheit und Wohlbefinden durch bessere Arbeitsbedingungen und Unterstützung durch die Gemeinschaft.</a:t>
            </a:r>
          </a:p>
          <a:p>
            <a:pPr>
              <a:spcAft>
                <a:spcPts val="1000"/>
              </a:spcAft>
            </a:pPr>
            <a:r>
              <a:rPr lang="en-GB" sz="2000" b="1" dirty="0">
                <a:solidFill>
                  <a:srgbClr val="0F486D"/>
                </a:solidFill>
                <a:hlinkClick r:id="rId4">
                  <a:extLst>
                    <a:ext uri="{A12FA001-AC4F-418D-AE19-62706E023703}">
                      <ahyp:hlinkClr xmlns:ahyp="http://schemas.microsoft.com/office/drawing/2018/hyperlinkcolor" val="tx"/>
                    </a:ext>
                  </a:extLst>
                </a:hlinkClick>
              </a:rPr>
              <a:t>SDG 5: Gleichberechtigung der Geschlechter</a:t>
            </a:r>
            <a:r>
              <a:rPr lang="en-GB" sz="2000" b="1" dirty="0"/>
              <a:t>: </a:t>
            </a:r>
            <a:r>
              <a:rPr lang="en-GB" sz="2000" dirty="0"/>
              <a:t>TBL fördert die Gleichstellung der Geschlechter und stärkt Frauen und Mädchen am Arbeitsplatz und in der Gemeinschaft.</a:t>
            </a:r>
          </a:p>
          <a:p>
            <a:pPr>
              <a:spcAft>
                <a:spcPts val="1000"/>
              </a:spcAft>
            </a:pPr>
            <a:r>
              <a:rPr lang="en-GB" sz="2000" b="1" dirty="0">
                <a:solidFill>
                  <a:srgbClr val="0F486D"/>
                </a:solidFill>
                <a:hlinkClick r:id="rId5">
                  <a:extLst>
                    <a:ext uri="{A12FA001-AC4F-418D-AE19-62706E023703}">
                      <ahyp:hlinkClr xmlns:ahyp="http://schemas.microsoft.com/office/drawing/2018/hyperlinkcolor" val="tx"/>
                    </a:ext>
                  </a:extLst>
                </a:hlinkClick>
              </a:rPr>
              <a:t>SDG 6: Sauberes Wasser und sanitäre Einrichtungen</a:t>
            </a:r>
            <a:r>
              <a:rPr lang="en-GB" sz="2000" b="1" dirty="0"/>
              <a:t>: </a:t>
            </a:r>
            <a:r>
              <a:rPr lang="en-GB" sz="2000" dirty="0"/>
              <a:t>TBL fördert nachhaltige Wassermanagement-Praktiken und unterstützt sauberes Wasser und sanitäre Einrichtungen.</a:t>
            </a:r>
          </a:p>
          <a:p>
            <a:pPr>
              <a:spcAft>
                <a:spcPts val="1000"/>
              </a:spcAft>
            </a:pPr>
            <a:r>
              <a:rPr lang="en-GB" sz="2000" b="1" dirty="0">
                <a:solidFill>
                  <a:srgbClr val="0F486D"/>
                </a:solidFill>
                <a:hlinkClick r:id="rId6">
                  <a:extLst>
                    <a:ext uri="{A12FA001-AC4F-418D-AE19-62706E023703}">
                      <ahyp:hlinkClr xmlns:ahyp="http://schemas.microsoft.com/office/drawing/2018/hyperlinkcolor" val="tx"/>
                    </a:ext>
                  </a:extLst>
                </a:hlinkClick>
              </a:rPr>
              <a:t>SDG 7: Erschwingliche und saubere Energie</a:t>
            </a:r>
            <a:r>
              <a:rPr lang="en-GB" sz="2000" b="1" dirty="0"/>
              <a:t>: </a:t>
            </a:r>
            <a:r>
              <a:rPr lang="en-GB" sz="2000" dirty="0"/>
              <a:t>Die Förderung der Nutzung sauberer Energiequellen und die Verbesserung der Energieeffizienz sind integraler Bestandteil von TBL.</a:t>
            </a:r>
          </a:p>
          <a:p>
            <a:pPr>
              <a:spcAft>
                <a:spcPts val="1000"/>
              </a:spcAft>
            </a:pPr>
            <a:endParaRPr lang="en-GB" sz="2000" dirty="0"/>
          </a:p>
          <a:p>
            <a:pPr>
              <a:spcAft>
                <a:spcPts val="1000"/>
              </a:spcAft>
            </a:pPr>
            <a:endParaRPr lang="en-GB" sz="2000" dirty="0"/>
          </a:p>
        </p:txBody>
      </p:sp>
      <p:pic>
        <p:nvPicPr>
          <p:cNvPr id="1026" name="Picture 2">
            <a:extLst>
              <a:ext uri="{FF2B5EF4-FFF2-40B4-BE49-F238E27FC236}">
                <a16:creationId xmlns:a16="http://schemas.microsoft.com/office/drawing/2014/main" id="{DA8B08E0-8FBA-D774-9E58-F3F74BACAB75}"/>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0482201" y="1622253"/>
            <a:ext cx="14287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6852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585478" y="640454"/>
            <a:ext cx="11021043" cy="804265"/>
          </a:xfrm>
        </p:spPr>
        <p:txBody>
          <a:bodyPr/>
          <a:lstStyle/>
          <a:p>
            <a:r>
              <a:rPr lang="en-US" dirty="0"/>
              <a:t>AUSRICHTUNG AUF DIE ZIELE DER NACHHALTIGEN ENTWICKLUNG</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3" y="1822948"/>
            <a:ext cx="9655380" cy="4439577"/>
          </a:xfrm>
        </p:spPr>
        <p:txBody>
          <a:bodyPr/>
          <a:lstStyle/>
          <a:p>
            <a:pPr>
              <a:spcAft>
                <a:spcPts val="1000"/>
              </a:spcAft>
            </a:pPr>
            <a:r>
              <a:rPr lang="en-GB" sz="2000"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a:t>
            </a:r>
            <a:r>
              <a:rPr lang="en-GB" sz="2000" b="1" dirty="0"/>
              <a:t>: </a:t>
            </a:r>
            <a:r>
              <a:rPr lang="en-GB" sz="2000" dirty="0"/>
              <a:t>TBL fördert nachhaltiges, inklusives und nachhaltiges Wirtschaftswachstum, produktive Beschäftigung und menschenwürdige Arbeit für alle.</a:t>
            </a:r>
          </a:p>
          <a:p>
            <a:pPr>
              <a:spcAft>
                <a:spcPts val="1000"/>
              </a:spcAft>
            </a:pPr>
            <a:r>
              <a:rPr lang="en-GB" sz="2000"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a:t>
            </a:r>
            <a:r>
              <a:rPr lang="en-GB" sz="2000" b="1" dirty="0"/>
              <a:t>: </a:t>
            </a:r>
            <a:r>
              <a:rPr lang="en-GB" sz="2000" dirty="0"/>
              <a:t>TBL schafft nachhaltige Produktions- und Konsummuster, die sich an verantwortungsvollem Konsum und verantwortungsvoller Produktion orientieren.</a:t>
            </a:r>
          </a:p>
          <a:p>
            <a:pPr>
              <a:spcAft>
                <a:spcPts val="1000"/>
              </a:spcAft>
            </a:pPr>
            <a:r>
              <a:rPr lang="en-GB" sz="2000" b="1" dirty="0">
                <a:solidFill>
                  <a:srgbClr val="0F486D"/>
                </a:solidFill>
                <a:hlinkClick r:id="rId4">
                  <a:extLst>
                    <a:ext uri="{A12FA001-AC4F-418D-AE19-62706E023703}">
                      <ahyp:hlinkClr xmlns:ahyp="http://schemas.microsoft.com/office/drawing/2018/hyperlinkcolor" val="tx"/>
                    </a:ext>
                  </a:extLst>
                </a:hlinkClick>
              </a:rPr>
              <a:t>SDG 13: Klimapolitik</a:t>
            </a:r>
            <a:r>
              <a:rPr lang="en-GB" sz="2000" b="1" dirty="0"/>
              <a:t>: </a:t>
            </a:r>
            <a:r>
              <a:rPr lang="en-GB" sz="2000" dirty="0"/>
              <a:t>Die TBL sieht vor, dringend Maßnahmen zur Bekämpfung des Klimawandels und seiner Auswirkungen zu ergreifen.</a:t>
            </a:r>
          </a:p>
          <a:p>
            <a:pPr>
              <a:spcAft>
                <a:spcPts val="1000"/>
              </a:spcAft>
            </a:pPr>
            <a:r>
              <a:rPr lang="en-GB" sz="2000" b="1" dirty="0">
                <a:solidFill>
                  <a:srgbClr val="0F486D"/>
                </a:solidFill>
                <a:hlinkClick r:id="rId5">
                  <a:extLst>
                    <a:ext uri="{A12FA001-AC4F-418D-AE19-62706E023703}">
                      <ahyp:hlinkClr xmlns:ahyp="http://schemas.microsoft.com/office/drawing/2018/hyperlinkcolor" val="tx"/>
                    </a:ext>
                  </a:extLst>
                </a:hlinkClick>
              </a:rPr>
              <a:t>SDG 14: Leben unter Wasser</a:t>
            </a:r>
            <a:r>
              <a:rPr lang="en-GB" sz="2000" b="1" dirty="0"/>
              <a:t>: </a:t>
            </a:r>
            <a:r>
              <a:rPr lang="en-GB" sz="2000" dirty="0"/>
              <a:t>TBL-Praktiken unterstützen die Erhaltung und nachhaltige Nutzung der Ozeane, Meere und Meeresressourcen. </a:t>
            </a:r>
          </a:p>
          <a:p>
            <a:pPr>
              <a:spcAft>
                <a:spcPts val="1000"/>
              </a:spcAft>
            </a:pPr>
            <a:r>
              <a:rPr lang="en-GB" sz="2000" b="1" dirty="0">
                <a:solidFill>
                  <a:srgbClr val="0F486D"/>
                </a:solidFill>
                <a:hlinkClick r:id="rId6">
                  <a:extLst>
                    <a:ext uri="{A12FA001-AC4F-418D-AE19-62706E023703}">
                      <ahyp:hlinkClr xmlns:ahyp="http://schemas.microsoft.com/office/drawing/2018/hyperlinkcolor" val="tx"/>
                    </a:ext>
                  </a:extLst>
                </a:hlinkClick>
              </a:rPr>
              <a:t>SDG 15: Leben an Land</a:t>
            </a:r>
            <a:r>
              <a:rPr lang="en-GB" sz="2000" b="1" dirty="0"/>
              <a:t>: </a:t>
            </a:r>
            <a:r>
              <a:rPr lang="en-GB" sz="2000" dirty="0"/>
              <a:t>TBL unterstützt den Schutz, die Wiederherstellung und die Förderung der nachhaltigen Nutzung terrestrischer Ökosysteme.</a:t>
            </a:r>
          </a:p>
        </p:txBody>
      </p:sp>
      <p:pic>
        <p:nvPicPr>
          <p:cNvPr id="4" name="Picture 2">
            <a:extLst>
              <a:ext uri="{FF2B5EF4-FFF2-40B4-BE49-F238E27FC236}">
                <a16:creationId xmlns:a16="http://schemas.microsoft.com/office/drawing/2014/main" id="{DADEAF7E-1803-1F36-4F4E-B82EBDD9520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0482201" y="1622253"/>
            <a:ext cx="14287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22662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2" y="640454"/>
            <a:ext cx="9215993" cy="804265"/>
          </a:xfrm>
        </p:spPr>
        <p:txBody>
          <a:bodyPr/>
          <a:lstStyle/>
          <a:p>
            <a:r>
              <a:rPr lang="en-US" dirty="0">
                <a:solidFill>
                  <a:srgbClr val="F36C2F"/>
                </a:solidFill>
                <a:hlinkClick r:id="rId2">
                  <a:extLst>
                    <a:ext uri="{A12FA001-AC4F-418D-AE19-62706E023703}">
                      <ahyp:hlinkClr xmlns:ahyp="http://schemas.microsoft.com/office/drawing/2018/hyperlinkcolor" val="tx"/>
                    </a:ext>
                  </a:extLst>
                </a:hlinkClick>
              </a:rPr>
              <a:t>ANPASSUNG AN DEN EUROPÄISCHEN KOMPETENZRAHMEN FÜR UNTERNEHMERISCHE TÄTIGKEITEN (ENTRECOMP)</a:t>
            </a:r>
            <a:endParaRPr lang="en-US" dirty="0">
              <a:solidFill>
                <a:srgbClr val="F36C2F"/>
              </a:solidFill>
            </a:endParaRP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2977733"/>
            <a:ext cx="10483429" cy="4439577"/>
          </a:xfrm>
        </p:spPr>
        <p:txBody>
          <a:bodyPr/>
          <a:lstStyle/>
          <a:p>
            <a:pPr algn="just">
              <a:spcAft>
                <a:spcPts val="1000"/>
              </a:spcAft>
            </a:pPr>
            <a:r>
              <a:rPr lang="en-GB" sz="2000" b="1" dirty="0"/>
              <a:t>1.5 Ethisches und nachhaltiges Denken: </a:t>
            </a:r>
            <a:r>
              <a:rPr lang="en-GB" sz="2000" dirty="0"/>
              <a:t>TBL befähigt die Teilnehmer, die Folgen und Auswirkungen von Ideen, Möglichkeiten und Handlungen abzuschätzen, einschließlich der Förderung der Integration in Unternehmen, des nachhaltigen Managements und der sozialen Verantwortung von Unternehmen.</a:t>
            </a:r>
            <a:endParaRPr lang="en-GB" sz="2000" b="1" dirty="0"/>
          </a:p>
          <a:p>
            <a:pPr algn="just">
              <a:spcAft>
                <a:spcPts val="1000"/>
              </a:spcAft>
            </a:pPr>
            <a:r>
              <a:rPr lang="en-GB" sz="2000" b="1" dirty="0"/>
              <a:t>3.1 Die Initiative ergreifen: </a:t>
            </a:r>
            <a:r>
              <a:rPr lang="en-GB" sz="2000" dirty="0"/>
              <a:t>TBL versetzt die Teilnehmer in die Lage, Chancen zu erkennen, eigenständig operative Entscheidungen zu treffen und strategische Geschäftsentscheidungen zu treffen, wodurch unternehmerische Initiative und Innovation gefördert werden.</a:t>
            </a:r>
          </a:p>
        </p:txBody>
      </p:sp>
      <p:pic>
        <p:nvPicPr>
          <p:cNvPr id="5" name="Picture 4">
            <a:extLst>
              <a:ext uri="{FF2B5EF4-FFF2-40B4-BE49-F238E27FC236}">
                <a16:creationId xmlns:a16="http://schemas.microsoft.com/office/drawing/2014/main" id="{F7931EC7-9CC5-0D01-5C79-1627D20DFADA}"/>
              </a:ext>
            </a:extLst>
          </p:cNvPr>
          <p:cNvPicPr>
            <a:picLocks noChangeAspect="1"/>
          </p:cNvPicPr>
          <p:nvPr/>
        </p:nvPicPr>
        <p:blipFill>
          <a:blip r:embed="rId3"/>
          <a:stretch>
            <a:fillRect/>
          </a:stretch>
        </p:blipFill>
        <p:spPr>
          <a:xfrm>
            <a:off x="9308981" y="843148"/>
            <a:ext cx="2149845" cy="1195578"/>
          </a:xfrm>
          <a:prstGeom prst="rect">
            <a:avLst/>
          </a:prstGeom>
        </p:spPr>
      </p:pic>
    </p:spTree>
    <p:extLst>
      <p:ext uri="{BB962C8B-B14F-4D97-AF65-F5344CB8AC3E}">
        <p14:creationId xmlns:p14="http://schemas.microsoft.com/office/powerpoint/2010/main" val="26312795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DAD70D-8F64-FF18-8FB5-2118A2041472}"/>
              </a:ext>
            </a:extLst>
          </p:cNvPr>
          <p:cNvGraphicFramePr>
            <a:graphicFrameLocks noChangeAspect="1"/>
          </p:cNvGraphicFramePr>
          <p:nvPr>
            <p:custDataLst>
              <p:tags r:id="rId1"/>
            </p:custDataLst>
            <p:extLst>
              <p:ext uri="{D42A27DB-BD31-4B8C-83A1-F6EECF244321}">
                <p14:modId xmlns:p14="http://schemas.microsoft.com/office/powerpoint/2010/main" val="1578608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Two cute robots">
            <a:extLst>
              <a:ext uri="{FF2B5EF4-FFF2-40B4-BE49-F238E27FC236}">
                <a16:creationId xmlns:a16="http://schemas.microsoft.com/office/drawing/2014/main" id="{EF12BB01-1778-1BC2-3198-BA4A21003E14}"/>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A0C335A3-EE55-F05B-FD33-823DE692CF6C}"/>
              </a:ext>
            </a:extLst>
          </p:cNvPr>
          <p:cNvSpPr>
            <a:spLocks noGrp="1"/>
          </p:cNvSpPr>
          <p:nvPr>
            <p:ph type="body" sz="quarter" idx="30"/>
          </p:nvPr>
        </p:nvSpPr>
        <p:spPr/>
        <p:txBody>
          <a:bodyPr/>
          <a:lstStyle/>
          <a:p>
            <a:r>
              <a:rPr lang="en-IE" sz="3200" dirty="0"/>
              <a:t>PRAKTISCHE ÜBUNG</a:t>
            </a:r>
          </a:p>
        </p:txBody>
      </p:sp>
      <p:sp>
        <p:nvSpPr>
          <p:cNvPr id="4" name="Text Placeholder 3">
            <a:extLst>
              <a:ext uri="{FF2B5EF4-FFF2-40B4-BE49-F238E27FC236}">
                <a16:creationId xmlns:a16="http://schemas.microsoft.com/office/drawing/2014/main" id="{3466DB92-AB89-C473-7ADE-095100E2CD07}"/>
              </a:ext>
            </a:extLst>
          </p:cNvPr>
          <p:cNvSpPr>
            <a:spLocks noGrp="1"/>
          </p:cNvSpPr>
          <p:nvPr>
            <p:ph type="body" sz="quarter" idx="48"/>
          </p:nvPr>
        </p:nvSpPr>
        <p:spPr>
          <a:xfrm>
            <a:off x="5511567" y="1551245"/>
            <a:ext cx="6098797" cy="3889855"/>
          </a:xfrm>
        </p:spPr>
        <p:txBody>
          <a:bodyPr/>
          <a:lstStyle/>
          <a:p>
            <a:pPr algn="just">
              <a:spcAft>
                <a:spcPts val="600"/>
              </a:spcAft>
            </a:pPr>
            <a:r>
              <a:rPr lang="en-IE" sz="1800" b="1" dirty="0"/>
              <a:t>Entwicklung eines Geschäftsplans:</a:t>
            </a:r>
          </a:p>
          <a:p>
            <a:pPr algn="just">
              <a:spcAft>
                <a:spcPts val="600"/>
              </a:spcAft>
            </a:pPr>
            <a:r>
              <a:rPr lang="en-GB" sz="1800" b="1" dirty="0"/>
              <a:t>Schritt 1: </a:t>
            </a:r>
            <a:r>
              <a:rPr lang="en-GB" sz="1800" dirty="0"/>
              <a:t>Bilden Sie Kleingruppen und regen Sie ein Brainstorming zu Geschäftsideen an, die die TBL-Prinzipien berücksichtigen. Jede Gruppe wählt eine Idee aus, die weiterentwickelt werden soll.</a:t>
            </a:r>
            <a:endParaRPr lang="en-GB" sz="1800" b="1" dirty="0"/>
          </a:p>
          <a:p>
            <a:pPr algn="just">
              <a:spcAft>
                <a:spcPts val="600"/>
              </a:spcAft>
            </a:pPr>
            <a:r>
              <a:rPr lang="en-GB" sz="1800" b="1" dirty="0"/>
              <a:t>Schritt 2: </a:t>
            </a:r>
            <a:r>
              <a:rPr lang="en-GB" sz="1800" dirty="0"/>
              <a:t>Die Gruppen entwerfen einen Geschäftsplan, in dem sie darlegen, wie sie die TBL-Metriken in ihr Geschäftsmodell einbeziehen werden. Konzentrieren Sie sich auf die Beschreibung von Strategien zur Erreichung wirtschaftlicher, sozialer und ökologischer Ziele.</a:t>
            </a:r>
            <a:endParaRPr lang="en-GB" sz="1800" b="1" dirty="0"/>
          </a:p>
          <a:p>
            <a:pPr algn="just">
              <a:spcAft>
                <a:spcPts val="600"/>
              </a:spcAft>
            </a:pPr>
            <a:r>
              <a:rPr lang="en-GB" sz="1800" b="1" dirty="0"/>
              <a:t>Schritt 3: </a:t>
            </a:r>
            <a:r>
              <a:rPr lang="en-GB" sz="1800" dirty="0"/>
              <a:t>Die Gruppen präsentieren ihre Geschäftspläne vor der Klasse oder einem Expertengremium. Geben Sie konstruktives Feedback zu den Aspekten Machbarkeit, Innovation und Nachhaltigkeit der einzelnen Pläne.</a:t>
            </a:r>
            <a:endParaRPr lang="en-GB" sz="1800" b="1" dirty="0"/>
          </a:p>
          <a:p>
            <a:pPr algn="just">
              <a:spcAft>
                <a:spcPts val="600"/>
              </a:spcAft>
            </a:pPr>
            <a:r>
              <a:rPr lang="en-GB" sz="1800" b="1" dirty="0"/>
              <a:t>Schritt 4: </a:t>
            </a:r>
            <a:r>
              <a:rPr lang="en-GB" sz="1800" dirty="0"/>
              <a:t>Auf der Grundlage des Feedbacks überarbeiten die Gruppen ihre Geschäftspläne und stellen sie fertig. Reichen Sie die endgültige Version zur Bewertung ein.</a:t>
            </a:r>
            <a:endParaRPr lang="en-IE" sz="1800" dirty="0"/>
          </a:p>
        </p:txBody>
      </p:sp>
    </p:spTree>
    <p:extLst>
      <p:ext uri="{BB962C8B-B14F-4D97-AF65-F5344CB8AC3E}">
        <p14:creationId xmlns:p14="http://schemas.microsoft.com/office/powerpoint/2010/main" val="1543091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32CD550-E165-5FDC-DA68-014A6C02B360}"/>
              </a:ext>
            </a:extLst>
          </p:cNvPr>
          <p:cNvSpPr>
            <a:spLocks noGrp="1"/>
          </p:cNvSpPr>
          <p:nvPr>
            <p:ph type="body" sz="quarter" idx="30"/>
          </p:nvPr>
        </p:nvSpPr>
        <p:spPr>
          <a:xfrm>
            <a:off x="5070765" y="215391"/>
            <a:ext cx="6110631" cy="845139"/>
          </a:xfrm>
        </p:spPr>
        <p:txBody>
          <a:bodyPr/>
          <a:lstStyle/>
          <a:p>
            <a:r>
              <a:rPr lang="en-IE" dirty="0"/>
              <a:t>Weitere Ressourcen</a:t>
            </a:r>
          </a:p>
          <a:p>
            <a:endParaRPr lang="en-IE" dirty="0"/>
          </a:p>
        </p:txBody>
      </p:sp>
      <p:sp>
        <p:nvSpPr>
          <p:cNvPr id="4" name="Text Placeholder 3">
            <a:extLst>
              <a:ext uri="{FF2B5EF4-FFF2-40B4-BE49-F238E27FC236}">
                <a16:creationId xmlns:a16="http://schemas.microsoft.com/office/drawing/2014/main" id="{AD30727B-2F6F-E513-A64E-2074AE131CB5}"/>
              </a:ext>
            </a:extLst>
          </p:cNvPr>
          <p:cNvSpPr>
            <a:spLocks noGrp="1"/>
          </p:cNvSpPr>
          <p:nvPr>
            <p:ph type="body" sz="quarter" idx="48"/>
          </p:nvPr>
        </p:nvSpPr>
        <p:spPr>
          <a:xfrm>
            <a:off x="5070765" y="1153061"/>
            <a:ext cx="6590804" cy="5006766"/>
          </a:xfrm>
        </p:spPr>
        <p:txBody>
          <a:bodyPr/>
          <a:lstStyle/>
          <a:p>
            <a:pPr algn="just">
              <a:spcAft>
                <a:spcPts val="600"/>
              </a:spcAft>
            </a:pPr>
            <a:r>
              <a:rPr lang="en-GB" sz="2000" dirty="0"/>
              <a:t>Um Ihr Verständnis des Triple-Bottom-Line-Ansatzes (TBL) und seiner Anwendung auf nachhaltige Geschäftspraktiken zu vertiefen, sollten Sie sich die folgenden Ressourcen ansehen:</a:t>
            </a:r>
          </a:p>
          <a:p>
            <a:pPr algn="just">
              <a:spcAft>
                <a:spcPts val="600"/>
              </a:spcAft>
            </a:pPr>
            <a:r>
              <a:rPr lang="en-GB" sz="2000" b="1" dirty="0">
                <a:hlinkClick r:id="rId2"/>
              </a:rPr>
              <a:t>Was ist die Triple Bottom Line</a:t>
            </a:r>
            <a:r>
              <a:rPr lang="en-GB" sz="2000" b="1" dirty="0"/>
              <a:t>? </a:t>
            </a:r>
            <a:r>
              <a:rPr lang="en-GB" sz="2000" dirty="0"/>
              <a:t>Eine umfassende Einführung in das TBL-Konzept, in der die Bedeutung dieses Konzepts erläutert wird und wie Unternehmen es in ihre Strategien integrieren können.</a:t>
            </a:r>
          </a:p>
          <a:p>
            <a:pPr algn="just">
              <a:spcAft>
                <a:spcPts val="600"/>
              </a:spcAft>
            </a:pPr>
            <a:r>
              <a:rPr lang="en-GB" sz="2000" b="1" dirty="0">
                <a:hlinkClick r:id="rId3"/>
              </a:rPr>
              <a:t>Nachhaltigkeit und Triple Bottom Line</a:t>
            </a:r>
            <a:r>
              <a:rPr lang="en-GB" sz="2000" b="1" dirty="0"/>
              <a:t>: </a:t>
            </a:r>
            <a:r>
              <a:rPr lang="en-GB" sz="2000" dirty="0"/>
              <a:t>Ein Überblick über zwei miteinander verknüpfte Konzepte Dieses Papier gibt einen ausführlichen Überblick über die Beziehung zwischen Nachhaltigkeit und dem TBL-Ansatz und bietet theoretische Erkenntnisse und praktische Beispiele. </a:t>
            </a:r>
          </a:p>
          <a:p>
            <a:pPr algn="just">
              <a:spcAft>
                <a:spcPts val="600"/>
              </a:spcAft>
            </a:pPr>
            <a:r>
              <a:rPr lang="en-GB" sz="2000" b="1" dirty="0">
                <a:hlinkClick r:id="rId4"/>
              </a:rPr>
              <a:t>Triple Bottom Line </a:t>
            </a:r>
            <a:r>
              <a:rPr lang="en-GB" sz="2000" b="1" dirty="0"/>
              <a:t>(TBL) </a:t>
            </a:r>
            <a:r>
              <a:rPr lang="en-GB" sz="2000" dirty="0"/>
              <a:t>Eine ausführliche Erläuterung des TBL-Rahmens, seiner Vorteile und seiner Anwendbarkeit in verschiedenen Branchen, um nachhaltige Geschäftsergebnisse zu erzielen. </a:t>
            </a:r>
            <a:endParaRPr lang="en-IE" sz="2000" dirty="0"/>
          </a:p>
        </p:txBody>
      </p:sp>
      <p:grpSp>
        <p:nvGrpSpPr>
          <p:cNvPr id="6" name="Graphic 4">
            <a:extLst>
              <a:ext uri="{FF2B5EF4-FFF2-40B4-BE49-F238E27FC236}">
                <a16:creationId xmlns:a16="http://schemas.microsoft.com/office/drawing/2014/main" id="{4D71887E-4869-31FF-01FC-15931F9AB54B}"/>
              </a:ext>
            </a:extLst>
          </p:cNvPr>
          <p:cNvGrpSpPr/>
          <p:nvPr/>
        </p:nvGrpSpPr>
        <p:grpSpPr>
          <a:xfrm rot="19582332">
            <a:off x="10774267" y="233619"/>
            <a:ext cx="403667" cy="780438"/>
            <a:chOff x="9129274" y="2719113"/>
            <a:chExt cx="717139" cy="1386497"/>
          </a:xfrm>
          <a:solidFill>
            <a:srgbClr val="09465E"/>
          </a:solidFill>
        </p:grpSpPr>
        <p:grpSp>
          <p:nvGrpSpPr>
            <p:cNvPr id="7" name="Graphic 4">
              <a:extLst>
                <a:ext uri="{FF2B5EF4-FFF2-40B4-BE49-F238E27FC236}">
                  <a16:creationId xmlns:a16="http://schemas.microsoft.com/office/drawing/2014/main" id="{7720363C-08FB-1C00-AFA8-3D9E3F1EA8D0}"/>
                </a:ext>
              </a:extLst>
            </p:cNvPr>
            <p:cNvGrpSpPr/>
            <p:nvPr/>
          </p:nvGrpSpPr>
          <p:grpSpPr>
            <a:xfrm>
              <a:off x="9159507" y="2719113"/>
              <a:ext cx="446280" cy="440141"/>
              <a:chOff x="9159507" y="2719113"/>
              <a:chExt cx="446280" cy="440141"/>
            </a:xfrm>
            <a:grpFill/>
          </p:grpSpPr>
          <p:sp>
            <p:nvSpPr>
              <p:cNvPr id="16" name="Freeform 57">
                <a:extLst>
                  <a:ext uri="{FF2B5EF4-FFF2-40B4-BE49-F238E27FC236}">
                    <a16:creationId xmlns:a16="http://schemas.microsoft.com/office/drawing/2014/main" id="{0D296FB4-F5C9-91E7-53E8-42B725548A6F}"/>
                  </a:ext>
                </a:extLst>
              </p:cNvPr>
              <p:cNvSpPr/>
              <p:nvPr/>
            </p:nvSpPr>
            <p:spPr>
              <a:xfrm>
                <a:off x="9159507" y="2719113"/>
                <a:ext cx="446280" cy="440141"/>
              </a:xfrm>
              <a:custGeom>
                <a:avLst/>
                <a:gdLst>
                  <a:gd name="connsiteX0" fmla="*/ 275519 w 446280"/>
                  <a:gd name="connsiteY0" fmla="*/ 440141 h 440141"/>
                  <a:gd name="connsiteX1" fmla="*/ 256120 w 446280"/>
                  <a:gd name="connsiteY1" fmla="*/ 425920 h 440141"/>
                  <a:gd name="connsiteX2" fmla="*/ 270345 w 446280"/>
                  <a:gd name="connsiteY2" fmla="*/ 402649 h 440141"/>
                  <a:gd name="connsiteX3" fmla="*/ 384154 w 446280"/>
                  <a:gd name="connsiteY3" fmla="*/ 316029 h 440141"/>
                  <a:gd name="connsiteX4" fmla="*/ 402261 w 446280"/>
                  <a:gd name="connsiteY4" fmla="*/ 176402 h 440141"/>
                  <a:gd name="connsiteX5" fmla="*/ 316903 w 446280"/>
                  <a:gd name="connsiteY5" fmla="*/ 63925 h 440141"/>
                  <a:gd name="connsiteX6" fmla="*/ 64713 w 446280"/>
                  <a:gd name="connsiteY6" fmla="*/ 131153 h 440141"/>
                  <a:gd name="connsiteX7" fmla="*/ 46607 w 446280"/>
                  <a:gd name="connsiteY7" fmla="*/ 270779 h 440141"/>
                  <a:gd name="connsiteX8" fmla="*/ 131964 w 446280"/>
                  <a:gd name="connsiteY8" fmla="*/ 383256 h 440141"/>
                  <a:gd name="connsiteX9" fmla="*/ 174642 w 446280"/>
                  <a:gd name="connsiteY9" fmla="*/ 401356 h 440141"/>
                  <a:gd name="connsiteX10" fmla="*/ 187575 w 446280"/>
                  <a:gd name="connsiteY10" fmla="*/ 425920 h 440141"/>
                  <a:gd name="connsiteX11" fmla="*/ 163003 w 446280"/>
                  <a:gd name="connsiteY11" fmla="*/ 438848 h 440141"/>
                  <a:gd name="connsiteX12" fmla="*/ 111271 w 446280"/>
                  <a:gd name="connsiteY12" fmla="*/ 416870 h 440141"/>
                  <a:gd name="connsiteX13" fmla="*/ 7808 w 446280"/>
                  <a:gd name="connsiteY13" fmla="*/ 281122 h 440141"/>
                  <a:gd name="connsiteX14" fmla="*/ 29794 w 446280"/>
                  <a:gd name="connsiteY14" fmla="*/ 111760 h 440141"/>
                  <a:gd name="connsiteX15" fmla="*/ 335010 w 446280"/>
                  <a:gd name="connsiteY15" fmla="*/ 30311 h 440141"/>
                  <a:gd name="connsiteX16" fmla="*/ 438473 w 446280"/>
                  <a:gd name="connsiteY16" fmla="*/ 166059 h 440141"/>
                  <a:gd name="connsiteX17" fmla="*/ 416487 w 446280"/>
                  <a:gd name="connsiteY17" fmla="*/ 335421 h 440141"/>
                  <a:gd name="connsiteX18" fmla="*/ 278105 w 446280"/>
                  <a:gd name="connsiteY18" fmla="*/ 440141 h 440141"/>
                  <a:gd name="connsiteX19" fmla="*/ 275519 w 446280"/>
                  <a:gd name="connsiteY19" fmla="*/ 440141 h 4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280" h="440141">
                    <a:moveTo>
                      <a:pt x="275519" y="440141"/>
                    </a:moveTo>
                    <a:cubicBezTo>
                      <a:pt x="266466" y="440141"/>
                      <a:pt x="258705" y="433677"/>
                      <a:pt x="256120" y="425920"/>
                    </a:cubicBezTo>
                    <a:cubicBezTo>
                      <a:pt x="253533" y="415577"/>
                      <a:pt x="259999" y="405234"/>
                      <a:pt x="270345" y="402649"/>
                    </a:cubicBezTo>
                    <a:cubicBezTo>
                      <a:pt x="318197" y="389720"/>
                      <a:pt x="359582" y="359985"/>
                      <a:pt x="384154" y="316029"/>
                    </a:cubicBezTo>
                    <a:cubicBezTo>
                      <a:pt x="408727" y="273365"/>
                      <a:pt x="415194" y="222944"/>
                      <a:pt x="402261" y="176402"/>
                    </a:cubicBezTo>
                    <a:cubicBezTo>
                      <a:pt x="389328" y="128567"/>
                      <a:pt x="359582" y="88489"/>
                      <a:pt x="316903" y="63925"/>
                    </a:cubicBezTo>
                    <a:cubicBezTo>
                      <a:pt x="228960" y="12212"/>
                      <a:pt x="115151" y="43240"/>
                      <a:pt x="64713" y="131153"/>
                    </a:cubicBezTo>
                    <a:cubicBezTo>
                      <a:pt x="40141" y="173816"/>
                      <a:pt x="33674" y="224237"/>
                      <a:pt x="46607" y="270779"/>
                    </a:cubicBezTo>
                    <a:cubicBezTo>
                      <a:pt x="59540" y="318614"/>
                      <a:pt x="89285" y="358692"/>
                      <a:pt x="131964" y="383256"/>
                    </a:cubicBezTo>
                    <a:cubicBezTo>
                      <a:pt x="144896" y="391013"/>
                      <a:pt x="159123" y="397477"/>
                      <a:pt x="174642" y="401356"/>
                    </a:cubicBezTo>
                    <a:cubicBezTo>
                      <a:pt x="184989" y="403942"/>
                      <a:pt x="191455" y="415577"/>
                      <a:pt x="187575" y="425920"/>
                    </a:cubicBezTo>
                    <a:cubicBezTo>
                      <a:pt x="184989" y="436262"/>
                      <a:pt x="173349" y="442727"/>
                      <a:pt x="163003" y="438848"/>
                    </a:cubicBezTo>
                    <a:cubicBezTo>
                      <a:pt x="144896" y="433677"/>
                      <a:pt x="128084" y="425920"/>
                      <a:pt x="111271" y="416870"/>
                    </a:cubicBezTo>
                    <a:cubicBezTo>
                      <a:pt x="59540" y="387135"/>
                      <a:pt x="22034" y="338007"/>
                      <a:pt x="7808" y="281122"/>
                    </a:cubicBezTo>
                    <a:cubicBezTo>
                      <a:pt x="-7711" y="222944"/>
                      <a:pt x="48" y="163474"/>
                      <a:pt x="29794" y="111760"/>
                    </a:cubicBezTo>
                    <a:cubicBezTo>
                      <a:pt x="91872" y="4455"/>
                      <a:pt x="228960" y="-31745"/>
                      <a:pt x="335010" y="30311"/>
                    </a:cubicBezTo>
                    <a:cubicBezTo>
                      <a:pt x="386741" y="60047"/>
                      <a:pt x="424247" y="109175"/>
                      <a:pt x="438473" y="166059"/>
                    </a:cubicBezTo>
                    <a:cubicBezTo>
                      <a:pt x="453992" y="224237"/>
                      <a:pt x="446232" y="283708"/>
                      <a:pt x="416487" y="335421"/>
                    </a:cubicBezTo>
                    <a:cubicBezTo>
                      <a:pt x="386741" y="387135"/>
                      <a:pt x="337596" y="424627"/>
                      <a:pt x="278105" y="440141"/>
                    </a:cubicBezTo>
                    <a:cubicBezTo>
                      <a:pt x="278105" y="438848"/>
                      <a:pt x="276812" y="440141"/>
                      <a:pt x="275519" y="440141"/>
                    </a:cubicBezTo>
                    <a:close/>
                  </a:path>
                </a:pathLst>
              </a:custGeom>
              <a:solidFill>
                <a:srgbClr val="F99F27"/>
              </a:solidFill>
              <a:ln w="12931" cap="flat">
                <a:noFill/>
                <a:prstDash val="solid"/>
                <a:miter/>
              </a:ln>
            </p:spPr>
            <p:txBody>
              <a:bodyPr rtlCol="0" anchor="ctr"/>
              <a:lstStyle/>
              <a:p>
                <a:endParaRPr lang="en-US"/>
              </a:p>
            </p:txBody>
          </p:sp>
          <p:sp>
            <p:nvSpPr>
              <p:cNvPr id="17" name="Freeform 58">
                <a:extLst>
                  <a:ext uri="{FF2B5EF4-FFF2-40B4-BE49-F238E27FC236}">
                    <a16:creationId xmlns:a16="http://schemas.microsoft.com/office/drawing/2014/main" id="{10A7D8A4-E57E-5F14-24CF-D2C80D2C7B4B}"/>
                  </a:ext>
                </a:extLst>
              </p:cNvPr>
              <p:cNvSpPr/>
              <p:nvPr/>
            </p:nvSpPr>
            <p:spPr>
              <a:xfrm>
                <a:off x="9245200" y="2800133"/>
                <a:ext cx="280068" cy="273794"/>
              </a:xfrm>
              <a:custGeom>
                <a:avLst/>
                <a:gdLst>
                  <a:gd name="connsiteX0" fmla="*/ 182066 w 280068"/>
                  <a:gd name="connsiteY0" fmla="*/ 273794 h 273794"/>
                  <a:gd name="connsiteX1" fmla="*/ 163960 w 280068"/>
                  <a:gd name="connsiteY1" fmla="*/ 260866 h 273794"/>
                  <a:gd name="connsiteX2" fmla="*/ 175599 w 280068"/>
                  <a:gd name="connsiteY2" fmla="*/ 236302 h 273794"/>
                  <a:gd name="connsiteX3" fmla="*/ 227331 w 280068"/>
                  <a:gd name="connsiteY3" fmla="*/ 192345 h 273794"/>
                  <a:gd name="connsiteX4" fmla="*/ 191119 w 280068"/>
                  <a:gd name="connsiteY4" fmla="*/ 54012 h 273794"/>
                  <a:gd name="connsiteX5" fmla="*/ 52737 w 280068"/>
                  <a:gd name="connsiteY5" fmla="*/ 90211 h 273794"/>
                  <a:gd name="connsiteX6" fmla="*/ 88949 w 280068"/>
                  <a:gd name="connsiteY6" fmla="*/ 228545 h 273794"/>
                  <a:gd name="connsiteX7" fmla="*/ 95415 w 280068"/>
                  <a:gd name="connsiteY7" fmla="*/ 254402 h 273794"/>
                  <a:gd name="connsiteX8" fmla="*/ 69550 w 280068"/>
                  <a:gd name="connsiteY8" fmla="*/ 260866 h 273794"/>
                  <a:gd name="connsiteX9" fmla="*/ 19112 w 280068"/>
                  <a:gd name="connsiteY9" fmla="*/ 69526 h 273794"/>
                  <a:gd name="connsiteX10" fmla="*/ 210518 w 280068"/>
                  <a:gd name="connsiteY10" fmla="*/ 19105 h 273794"/>
                  <a:gd name="connsiteX11" fmla="*/ 260957 w 280068"/>
                  <a:gd name="connsiteY11" fmla="*/ 210445 h 273794"/>
                  <a:gd name="connsiteX12" fmla="*/ 189826 w 280068"/>
                  <a:gd name="connsiteY12" fmla="*/ 271209 h 273794"/>
                  <a:gd name="connsiteX13" fmla="*/ 182066 w 280068"/>
                  <a:gd name="connsiteY13" fmla="*/ 273794 h 27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068" h="273794">
                    <a:moveTo>
                      <a:pt x="182066" y="273794"/>
                    </a:moveTo>
                    <a:cubicBezTo>
                      <a:pt x="174306" y="273794"/>
                      <a:pt x="166546" y="268623"/>
                      <a:pt x="163960" y="260866"/>
                    </a:cubicBezTo>
                    <a:cubicBezTo>
                      <a:pt x="160080" y="250523"/>
                      <a:pt x="165253" y="240180"/>
                      <a:pt x="175599" y="236302"/>
                    </a:cubicBezTo>
                    <a:cubicBezTo>
                      <a:pt x="197585" y="228545"/>
                      <a:pt x="215692" y="213031"/>
                      <a:pt x="227331" y="192345"/>
                    </a:cubicBezTo>
                    <a:cubicBezTo>
                      <a:pt x="255783" y="144510"/>
                      <a:pt x="238971" y="82454"/>
                      <a:pt x="191119" y="54012"/>
                    </a:cubicBezTo>
                    <a:cubicBezTo>
                      <a:pt x="143267" y="25569"/>
                      <a:pt x="81189" y="42376"/>
                      <a:pt x="52737" y="90211"/>
                    </a:cubicBezTo>
                    <a:cubicBezTo>
                      <a:pt x="24285" y="138046"/>
                      <a:pt x="41098" y="200103"/>
                      <a:pt x="88949" y="228545"/>
                    </a:cubicBezTo>
                    <a:cubicBezTo>
                      <a:pt x="98002" y="233716"/>
                      <a:pt x="101882" y="245352"/>
                      <a:pt x="95415" y="254402"/>
                    </a:cubicBezTo>
                    <a:cubicBezTo>
                      <a:pt x="90243" y="263452"/>
                      <a:pt x="78603" y="267330"/>
                      <a:pt x="69550" y="260866"/>
                    </a:cubicBezTo>
                    <a:cubicBezTo>
                      <a:pt x="2299" y="222081"/>
                      <a:pt x="-19687" y="136753"/>
                      <a:pt x="19112" y="69526"/>
                    </a:cubicBezTo>
                    <a:cubicBezTo>
                      <a:pt x="57910" y="2298"/>
                      <a:pt x="143267" y="-19680"/>
                      <a:pt x="210518" y="19105"/>
                    </a:cubicBezTo>
                    <a:cubicBezTo>
                      <a:pt x="277769" y="57890"/>
                      <a:pt x="299755" y="143218"/>
                      <a:pt x="260957" y="210445"/>
                    </a:cubicBezTo>
                    <a:cubicBezTo>
                      <a:pt x="245437" y="237595"/>
                      <a:pt x="219571" y="259573"/>
                      <a:pt x="189826" y="271209"/>
                    </a:cubicBezTo>
                    <a:cubicBezTo>
                      <a:pt x="185945" y="272501"/>
                      <a:pt x="183359" y="273794"/>
                      <a:pt x="182066" y="273794"/>
                    </a:cubicBezTo>
                    <a:close/>
                  </a:path>
                </a:pathLst>
              </a:custGeom>
              <a:solidFill>
                <a:srgbClr val="F99F27"/>
              </a:solidFill>
              <a:ln w="12931" cap="flat">
                <a:noFill/>
                <a:prstDash val="solid"/>
                <a:miter/>
              </a:ln>
            </p:spPr>
            <p:txBody>
              <a:bodyPr rtlCol="0" anchor="ctr"/>
              <a:lstStyle/>
              <a:p>
                <a:endParaRPr lang="en-US"/>
              </a:p>
            </p:txBody>
          </p:sp>
        </p:grpSp>
        <p:grpSp>
          <p:nvGrpSpPr>
            <p:cNvPr id="8" name="Graphic 4">
              <a:extLst>
                <a:ext uri="{FF2B5EF4-FFF2-40B4-BE49-F238E27FC236}">
                  <a16:creationId xmlns:a16="http://schemas.microsoft.com/office/drawing/2014/main" id="{BE5990F4-BD09-65C2-9EB1-460947E63039}"/>
                </a:ext>
              </a:extLst>
            </p:cNvPr>
            <p:cNvGrpSpPr/>
            <p:nvPr/>
          </p:nvGrpSpPr>
          <p:grpSpPr>
            <a:xfrm>
              <a:off x="9129274" y="2893887"/>
              <a:ext cx="717139" cy="1211724"/>
              <a:chOff x="9129274" y="2893887"/>
              <a:chExt cx="717139" cy="1211724"/>
            </a:xfrm>
            <a:grpFill/>
          </p:grpSpPr>
          <p:sp>
            <p:nvSpPr>
              <p:cNvPr id="9" name="Freeform 50">
                <a:extLst>
                  <a:ext uri="{FF2B5EF4-FFF2-40B4-BE49-F238E27FC236}">
                    <a16:creationId xmlns:a16="http://schemas.microsoft.com/office/drawing/2014/main" id="{934B0772-56DA-AC47-18CD-B3A0C8057074}"/>
                  </a:ext>
                </a:extLst>
              </p:cNvPr>
              <p:cNvSpPr/>
              <p:nvPr/>
            </p:nvSpPr>
            <p:spPr>
              <a:xfrm>
                <a:off x="9129274" y="3281518"/>
                <a:ext cx="222449" cy="606896"/>
              </a:xfrm>
              <a:custGeom>
                <a:avLst/>
                <a:gdLst>
                  <a:gd name="connsiteX0" fmla="*/ 200995 w 222449"/>
                  <a:gd name="connsiteY0" fmla="*/ 606896 h 606896"/>
                  <a:gd name="connsiteX1" fmla="*/ 193235 w 222449"/>
                  <a:gd name="connsiteY1" fmla="*/ 605603 h 606896"/>
                  <a:gd name="connsiteX2" fmla="*/ 173836 w 222449"/>
                  <a:gd name="connsiteY2" fmla="*/ 593968 h 606896"/>
                  <a:gd name="connsiteX3" fmla="*/ 169956 w 222449"/>
                  <a:gd name="connsiteY3" fmla="*/ 591382 h 606896"/>
                  <a:gd name="connsiteX4" fmla="*/ 107878 w 222449"/>
                  <a:gd name="connsiteY4" fmla="*/ 531912 h 606896"/>
                  <a:gd name="connsiteX5" fmla="*/ 62613 w 222449"/>
                  <a:gd name="connsiteY5" fmla="*/ 465977 h 606896"/>
                  <a:gd name="connsiteX6" fmla="*/ 8296 w 222449"/>
                  <a:gd name="connsiteY6" fmla="*/ 326350 h 606896"/>
                  <a:gd name="connsiteX7" fmla="*/ 4415 w 222449"/>
                  <a:gd name="connsiteY7" fmla="*/ 306958 h 606896"/>
                  <a:gd name="connsiteX8" fmla="*/ 3122 w 222449"/>
                  <a:gd name="connsiteY8" fmla="*/ 303079 h 606896"/>
                  <a:gd name="connsiteX9" fmla="*/ 1829 w 222449"/>
                  <a:gd name="connsiteY9" fmla="*/ 295322 h 606896"/>
                  <a:gd name="connsiteX10" fmla="*/ 536 w 222449"/>
                  <a:gd name="connsiteY10" fmla="*/ 279808 h 606896"/>
                  <a:gd name="connsiteX11" fmla="*/ 1829 w 222449"/>
                  <a:gd name="connsiteY11" fmla="*/ 243609 h 606896"/>
                  <a:gd name="connsiteX12" fmla="*/ 1829 w 222449"/>
                  <a:gd name="connsiteY12" fmla="*/ 238437 h 606896"/>
                  <a:gd name="connsiteX13" fmla="*/ 7002 w 222449"/>
                  <a:gd name="connsiteY13" fmla="*/ 197067 h 606896"/>
                  <a:gd name="connsiteX14" fmla="*/ 9589 w 222449"/>
                  <a:gd name="connsiteY14" fmla="*/ 175088 h 606896"/>
                  <a:gd name="connsiteX15" fmla="*/ 13468 w 222449"/>
                  <a:gd name="connsiteY15" fmla="*/ 66490 h 606896"/>
                  <a:gd name="connsiteX16" fmla="*/ 13468 w 222449"/>
                  <a:gd name="connsiteY16" fmla="*/ 65197 h 606896"/>
                  <a:gd name="connsiteX17" fmla="*/ 63907 w 222449"/>
                  <a:gd name="connsiteY17" fmla="*/ 555 h 606896"/>
                  <a:gd name="connsiteX18" fmla="*/ 125984 w 222449"/>
                  <a:gd name="connsiteY18" fmla="*/ 39341 h 606896"/>
                  <a:gd name="connsiteX19" fmla="*/ 153143 w 222449"/>
                  <a:gd name="connsiteY19" fmla="*/ 177674 h 606896"/>
                  <a:gd name="connsiteX20" fmla="*/ 155730 w 222449"/>
                  <a:gd name="connsiteY20" fmla="*/ 200945 h 606896"/>
                  <a:gd name="connsiteX21" fmla="*/ 159610 w 222449"/>
                  <a:gd name="connsiteY21" fmla="*/ 238437 h 606896"/>
                  <a:gd name="connsiteX22" fmla="*/ 191942 w 222449"/>
                  <a:gd name="connsiteY22" fmla="*/ 314715 h 606896"/>
                  <a:gd name="connsiteX23" fmla="*/ 193235 w 222449"/>
                  <a:gd name="connsiteY23" fmla="*/ 341864 h 606896"/>
                  <a:gd name="connsiteX24" fmla="*/ 166076 w 222449"/>
                  <a:gd name="connsiteY24" fmla="*/ 343157 h 606896"/>
                  <a:gd name="connsiteX25" fmla="*/ 120811 w 222449"/>
                  <a:gd name="connsiteY25" fmla="*/ 243609 h 606896"/>
                  <a:gd name="connsiteX26" fmla="*/ 116931 w 222449"/>
                  <a:gd name="connsiteY26" fmla="*/ 204824 h 606896"/>
                  <a:gd name="connsiteX27" fmla="*/ 114345 w 222449"/>
                  <a:gd name="connsiteY27" fmla="*/ 181553 h 606896"/>
                  <a:gd name="connsiteX28" fmla="*/ 89773 w 222449"/>
                  <a:gd name="connsiteY28" fmla="*/ 52269 h 606896"/>
                  <a:gd name="connsiteX29" fmla="*/ 69080 w 222449"/>
                  <a:gd name="connsiteY29" fmla="*/ 39341 h 606896"/>
                  <a:gd name="connsiteX30" fmla="*/ 52267 w 222449"/>
                  <a:gd name="connsiteY30" fmla="*/ 61319 h 606896"/>
                  <a:gd name="connsiteX31" fmla="*/ 52267 w 222449"/>
                  <a:gd name="connsiteY31" fmla="*/ 62611 h 606896"/>
                  <a:gd name="connsiteX32" fmla="*/ 48387 w 222449"/>
                  <a:gd name="connsiteY32" fmla="*/ 180260 h 606896"/>
                  <a:gd name="connsiteX33" fmla="*/ 45801 w 222449"/>
                  <a:gd name="connsiteY33" fmla="*/ 202238 h 606896"/>
                  <a:gd name="connsiteX34" fmla="*/ 40628 w 222449"/>
                  <a:gd name="connsiteY34" fmla="*/ 242316 h 606896"/>
                  <a:gd name="connsiteX35" fmla="*/ 40628 w 222449"/>
                  <a:gd name="connsiteY35" fmla="*/ 246195 h 606896"/>
                  <a:gd name="connsiteX36" fmla="*/ 39334 w 222449"/>
                  <a:gd name="connsiteY36" fmla="*/ 277223 h 606896"/>
                  <a:gd name="connsiteX37" fmla="*/ 40628 w 222449"/>
                  <a:gd name="connsiteY37" fmla="*/ 288858 h 606896"/>
                  <a:gd name="connsiteX38" fmla="*/ 41921 w 222449"/>
                  <a:gd name="connsiteY38" fmla="*/ 296615 h 606896"/>
                  <a:gd name="connsiteX39" fmla="*/ 43214 w 222449"/>
                  <a:gd name="connsiteY39" fmla="*/ 300494 h 606896"/>
                  <a:gd name="connsiteX40" fmla="*/ 47094 w 222449"/>
                  <a:gd name="connsiteY40" fmla="*/ 317301 h 606896"/>
                  <a:gd name="connsiteX41" fmla="*/ 97532 w 222449"/>
                  <a:gd name="connsiteY41" fmla="*/ 446584 h 606896"/>
                  <a:gd name="connsiteX42" fmla="*/ 138917 w 222449"/>
                  <a:gd name="connsiteY42" fmla="*/ 507348 h 606896"/>
                  <a:gd name="connsiteX43" fmla="*/ 194528 w 222449"/>
                  <a:gd name="connsiteY43" fmla="*/ 561647 h 606896"/>
                  <a:gd name="connsiteX44" fmla="*/ 198408 w 222449"/>
                  <a:gd name="connsiteY44" fmla="*/ 564233 h 606896"/>
                  <a:gd name="connsiteX45" fmla="*/ 211341 w 222449"/>
                  <a:gd name="connsiteY45" fmla="*/ 571990 h 606896"/>
                  <a:gd name="connsiteX46" fmla="*/ 220394 w 222449"/>
                  <a:gd name="connsiteY46" fmla="*/ 597846 h 606896"/>
                  <a:gd name="connsiteX47" fmla="*/ 200995 w 222449"/>
                  <a:gd name="connsiteY47" fmla="*/ 606896 h 60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2449" h="606896">
                    <a:moveTo>
                      <a:pt x="200995" y="606896"/>
                    </a:moveTo>
                    <a:cubicBezTo>
                      <a:pt x="198408" y="606896"/>
                      <a:pt x="195822" y="606896"/>
                      <a:pt x="193235" y="605603"/>
                    </a:cubicBezTo>
                    <a:cubicBezTo>
                      <a:pt x="186769" y="601725"/>
                      <a:pt x="180303" y="597846"/>
                      <a:pt x="173836" y="593968"/>
                    </a:cubicBezTo>
                    <a:lnTo>
                      <a:pt x="169956" y="591382"/>
                    </a:lnTo>
                    <a:cubicBezTo>
                      <a:pt x="147970" y="574575"/>
                      <a:pt x="125984" y="553890"/>
                      <a:pt x="107878" y="531912"/>
                    </a:cubicBezTo>
                    <a:cubicBezTo>
                      <a:pt x="91066" y="511226"/>
                      <a:pt x="75546" y="489248"/>
                      <a:pt x="62613" y="465977"/>
                    </a:cubicBezTo>
                    <a:cubicBezTo>
                      <a:pt x="38041" y="422020"/>
                      <a:pt x="21229" y="376771"/>
                      <a:pt x="8296" y="326350"/>
                    </a:cubicBezTo>
                    <a:cubicBezTo>
                      <a:pt x="7002" y="319886"/>
                      <a:pt x="5709" y="313422"/>
                      <a:pt x="4415" y="306958"/>
                    </a:cubicBezTo>
                    <a:lnTo>
                      <a:pt x="3122" y="303079"/>
                    </a:lnTo>
                    <a:cubicBezTo>
                      <a:pt x="3122" y="300494"/>
                      <a:pt x="1829" y="297908"/>
                      <a:pt x="1829" y="295322"/>
                    </a:cubicBezTo>
                    <a:cubicBezTo>
                      <a:pt x="536" y="288858"/>
                      <a:pt x="536" y="283687"/>
                      <a:pt x="536" y="279808"/>
                    </a:cubicBezTo>
                    <a:cubicBezTo>
                      <a:pt x="-757" y="264294"/>
                      <a:pt x="536" y="253951"/>
                      <a:pt x="1829" y="243609"/>
                    </a:cubicBezTo>
                    <a:lnTo>
                      <a:pt x="1829" y="238437"/>
                    </a:lnTo>
                    <a:cubicBezTo>
                      <a:pt x="3122" y="222923"/>
                      <a:pt x="4415" y="209995"/>
                      <a:pt x="7002" y="197067"/>
                    </a:cubicBezTo>
                    <a:cubicBezTo>
                      <a:pt x="8296" y="189310"/>
                      <a:pt x="8296" y="182845"/>
                      <a:pt x="9589" y="175088"/>
                    </a:cubicBezTo>
                    <a:cubicBezTo>
                      <a:pt x="14762" y="132425"/>
                      <a:pt x="17348" y="97518"/>
                      <a:pt x="13468" y="66490"/>
                    </a:cubicBezTo>
                    <a:lnTo>
                      <a:pt x="13468" y="65197"/>
                    </a:lnTo>
                    <a:cubicBezTo>
                      <a:pt x="9589" y="32876"/>
                      <a:pt x="32868" y="4434"/>
                      <a:pt x="63907" y="555"/>
                    </a:cubicBezTo>
                    <a:cubicBezTo>
                      <a:pt x="91066" y="-3323"/>
                      <a:pt x="116931" y="13484"/>
                      <a:pt x="125984" y="39341"/>
                    </a:cubicBezTo>
                    <a:cubicBezTo>
                      <a:pt x="142797" y="85883"/>
                      <a:pt x="147970" y="131132"/>
                      <a:pt x="153143" y="177674"/>
                    </a:cubicBezTo>
                    <a:cubicBezTo>
                      <a:pt x="154437" y="185431"/>
                      <a:pt x="154437" y="193188"/>
                      <a:pt x="155730" y="200945"/>
                    </a:cubicBezTo>
                    <a:cubicBezTo>
                      <a:pt x="157024" y="213874"/>
                      <a:pt x="158317" y="226802"/>
                      <a:pt x="159610" y="238437"/>
                    </a:cubicBezTo>
                    <a:cubicBezTo>
                      <a:pt x="166076" y="284980"/>
                      <a:pt x="185475" y="306958"/>
                      <a:pt x="191942" y="314715"/>
                    </a:cubicBezTo>
                    <a:cubicBezTo>
                      <a:pt x="199702" y="322472"/>
                      <a:pt x="199702" y="334107"/>
                      <a:pt x="193235" y="341864"/>
                    </a:cubicBezTo>
                    <a:cubicBezTo>
                      <a:pt x="185475" y="349622"/>
                      <a:pt x="173836" y="349622"/>
                      <a:pt x="166076" y="343157"/>
                    </a:cubicBezTo>
                    <a:cubicBezTo>
                      <a:pt x="153143" y="330229"/>
                      <a:pt x="129864" y="301786"/>
                      <a:pt x="120811" y="243609"/>
                    </a:cubicBezTo>
                    <a:cubicBezTo>
                      <a:pt x="119518" y="230680"/>
                      <a:pt x="118225" y="217752"/>
                      <a:pt x="116931" y="204824"/>
                    </a:cubicBezTo>
                    <a:cubicBezTo>
                      <a:pt x="115638" y="197067"/>
                      <a:pt x="115638" y="189310"/>
                      <a:pt x="114345" y="181553"/>
                    </a:cubicBezTo>
                    <a:cubicBezTo>
                      <a:pt x="109172" y="136303"/>
                      <a:pt x="103998" y="94932"/>
                      <a:pt x="89773" y="52269"/>
                    </a:cubicBezTo>
                    <a:cubicBezTo>
                      <a:pt x="87186" y="43219"/>
                      <a:pt x="78133" y="38048"/>
                      <a:pt x="69080" y="39341"/>
                    </a:cubicBezTo>
                    <a:cubicBezTo>
                      <a:pt x="58733" y="40633"/>
                      <a:pt x="50974" y="50976"/>
                      <a:pt x="52267" y="61319"/>
                    </a:cubicBezTo>
                    <a:lnTo>
                      <a:pt x="52267" y="62611"/>
                    </a:lnTo>
                    <a:cubicBezTo>
                      <a:pt x="56147" y="97518"/>
                      <a:pt x="53561" y="135010"/>
                      <a:pt x="48387" y="180260"/>
                    </a:cubicBezTo>
                    <a:cubicBezTo>
                      <a:pt x="47094" y="188017"/>
                      <a:pt x="47094" y="194481"/>
                      <a:pt x="45801" y="202238"/>
                    </a:cubicBezTo>
                    <a:cubicBezTo>
                      <a:pt x="44508" y="215166"/>
                      <a:pt x="41921" y="228095"/>
                      <a:pt x="40628" y="242316"/>
                    </a:cubicBezTo>
                    <a:lnTo>
                      <a:pt x="40628" y="246195"/>
                    </a:lnTo>
                    <a:cubicBezTo>
                      <a:pt x="39334" y="256537"/>
                      <a:pt x="39334" y="265587"/>
                      <a:pt x="39334" y="277223"/>
                    </a:cubicBezTo>
                    <a:cubicBezTo>
                      <a:pt x="39334" y="279808"/>
                      <a:pt x="40628" y="284980"/>
                      <a:pt x="40628" y="288858"/>
                    </a:cubicBezTo>
                    <a:cubicBezTo>
                      <a:pt x="40628" y="292737"/>
                      <a:pt x="41921" y="294030"/>
                      <a:pt x="41921" y="296615"/>
                    </a:cubicBezTo>
                    <a:lnTo>
                      <a:pt x="43214" y="300494"/>
                    </a:lnTo>
                    <a:cubicBezTo>
                      <a:pt x="44508" y="305665"/>
                      <a:pt x="45801" y="312129"/>
                      <a:pt x="47094" y="317301"/>
                    </a:cubicBezTo>
                    <a:cubicBezTo>
                      <a:pt x="58733" y="363843"/>
                      <a:pt x="75546" y="406506"/>
                      <a:pt x="97532" y="446584"/>
                    </a:cubicBezTo>
                    <a:cubicBezTo>
                      <a:pt x="109172" y="468563"/>
                      <a:pt x="123398" y="487955"/>
                      <a:pt x="138917" y="507348"/>
                    </a:cubicBezTo>
                    <a:cubicBezTo>
                      <a:pt x="155730" y="526740"/>
                      <a:pt x="175129" y="544840"/>
                      <a:pt x="194528" y="561647"/>
                    </a:cubicBezTo>
                    <a:lnTo>
                      <a:pt x="198408" y="564233"/>
                    </a:lnTo>
                    <a:cubicBezTo>
                      <a:pt x="202289" y="566818"/>
                      <a:pt x="206168" y="569404"/>
                      <a:pt x="211341" y="571990"/>
                    </a:cubicBezTo>
                    <a:cubicBezTo>
                      <a:pt x="220394" y="577161"/>
                      <a:pt x="225568" y="587504"/>
                      <a:pt x="220394" y="597846"/>
                    </a:cubicBezTo>
                    <a:cubicBezTo>
                      <a:pt x="215222" y="603018"/>
                      <a:pt x="207461" y="606896"/>
                      <a:pt x="200995" y="606896"/>
                    </a:cubicBezTo>
                    <a:close/>
                  </a:path>
                </a:pathLst>
              </a:custGeom>
              <a:grpFill/>
              <a:ln w="12931" cap="flat">
                <a:noFill/>
                <a:prstDash val="solid"/>
                <a:miter/>
              </a:ln>
            </p:spPr>
            <p:txBody>
              <a:bodyPr rtlCol="0" anchor="ctr"/>
              <a:lstStyle/>
              <a:p>
                <a:endParaRPr lang="en-US"/>
              </a:p>
            </p:txBody>
          </p:sp>
          <p:sp>
            <p:nvSpPr>
              <p:cNvPr id="10" name="Freeform 51">
                <a:extLst>
                  <a:ext uri="{FF2B5EF4-FFF2-40B4-BE49-F238E27FC236}">
                    <a16:creationId xmlns:a16="http://schemas.microsoft.com/office/drawing/2014/main" id="{12D76D91-1725-7B5B-EBCA-D0AAE8CE8E7F}"/>
                  </a:ext>
                </a:extLst>
              </p:cNvPr>
              <p:cNvSpPr/>
              <p:nvPr/>
            </p:nvSpPr>
            <p:spPr>
              <a:xfrm>
                <a:off x="9683286" y="3335599"/>
                <a:ext cx="163004" cy="201164"/>
              </a:xfrm>
              <a:custGeom>
                <a:avLst/>
                <a:gdLst>
                  <a:gd name="connsiteX0" fmla="*/ 143605 w 163004"/>
                  <a:gd name="connsiteY0" fmla="*/ 201164 h 201164"/>
                  <a:gd name="connsiteX1" fmla="*/ 124206 w 163004"/>
                  <a:gd name="connsiteY1" fmla="*/ 181772 h 201164"/>
                  <a:gd name="connsiteX2" fmla="*/ 82820 w 163004"/>
                  <a:gd name="connsiteY2" fmla="*/ 57659 h 201164"/>
                  <a:gd name="connsiteX3" fmla="*/ 29796 w 163004"/>
                  <a:gd name="connsiteY3" fmla="*/ 44731 h 201164"/>
                  <a:gd name="connsiteX4" fmla="*/ 2636 w 163004"/>
                  <a:gd name="connsiteY4" fmla="*/ 38266 h 201164"/>
                  <a:gd name="connsiteX5" fmla="*/ 9103 w 163004"/>
                  <a:gd name="connsiteY5" fmla="*/ 11117 h 201164"/>
                  <a:gd name="connsiteX6" fmla="*/ 116445 w 163004"/>
                  <a:gd name="connsiteY6" fmla="*/ 36974 h 201164"/>
                  <a:gd name="connsiteX7" fmla="*/ 163004 w 163004"/>
                  <a:gd name="connsiteY7" fmla="*/ 181772 h 201164"/>
                  <a:gd name="connsiteX8" fmla="*/ 143605 w 163004"/>
                  <a:gd name="connsiteY8" fmla="*/ 201164 h 201164"/>
                  <a:gd name="connsiteX9" fmla="*/ 143605 w 163004"/>
                  <a:gd name="connsiteY9" fmla="*/ 201164 h 20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04" h="201164">
                    <a:moveTo>
                      <a:pt x="143605" y="201164"/>
                    </a:moveTo>
                    <a:cubicBezTo>
                      <a:pt x="133259" y="201164"/>
                      <a:pt x="124206" y="192114"/>
                      <a:pt x="124206" y="181772"/>
                    </a:cubicBezTo>
                    <a:cubicBezTo>
                      <a:pt x="124206" y="132644"/>
                      <a:pt x="108686" y="99030"/>
                      <a:pt x="82820" y="57659"/>
                    </a:cubicBezTo>
                    <a:cubicBezTo>
                      <a:pt x="71180" y="39559"/>
                      <a:pt x="47901" y="33095"/>
                      <a:pt x="29796" y="44731"/>
                    </a:cubicBezTo>
                    <a:cubicBezTo>
                      <a:pt x="20743" y="49902"/>
                      <a:pt x="9103" y="47316"/>
                      <a:pt x="2636" y="38266"/>
                    </a:cubicBezTo>
                    <a:cubicBezTo>
                      <a:pt x="-2536" y="29217"/>
                      <a:pt x="50" y="17581"/>
                      <a:pt x="9103" y="11117"/>
                    </a:cubicBezTo>
                    <a:cubicBezTo>
                      <a:pt x="45315" y="-10861"/>
                      <a:pt x="93166" y="774"/>
                      <a:pt x="116445" y="36974"/>
                    </a:cubicBezTo>
                    <a:cubicBezTo>
                      <a:pt x="144898" y="83516"/>
                      <a:pt x="163004" y="123594"/>
                      <a:pt x="163004" y="181772"/>
                    </a:cubicBezTo>
                    <a:cubicBezTo>
                      <a:pt x="163004" y="192114"/>
                      <a:pt x="155244" y="201164"/>
                      <a:pt x="143605" y="201164"/>
                    </a:cubicBezTo>
                    <a:cubicBezTo>
                      <a:pt x="143605" y="201164"/>
                      <a:pt x="143605" y="201164"/>
                      <a:pt x="143605" y="201164"/>
                    </a:cubicBezTo>
                    <a:close/>
                  </a:path>
                </a:pathLst>
              </a:custGeom>
              <a:grpFill/>
              <a:ln w="12931" cap="flat">
                <a:noFill/>
                <a:prstDash val="solid"/>
                <a:miter/>
              </a:ln>
            </p:spPr>
            <p:txBody>
              <a:bodyPr rtlCol="0" anchor="ctr"/>
              <a:lstStyle/>
              <a:p>
                <a:endParaRPr lang="en-US"/>
              </a:p>
            </p:txBody>
          </p:sp>
          <p:sp>
            <p:nvSpPr>
              <p:cNvPr id="11" name="Freeform 52">
                <a:extLst>
                  <a:ext uri="{FF2B5EF4-FFF2-40B4-BE49-F238E27FC236}">
                    <a16:creationId xmlns:a16="http://schemas.microsoft.com/office/drawing/2014/main" id="{90C1F8D0-809C-6AC2-4C55-3295A365725D}"/>
                  </a:ext>
                </a:extLst>
              </p:cNvPr>
              <p:cNvSpPr/>
              <p:nvPr/>
            </p:nvSpPr>
            <p:spPr>
              <a:xfrm>
                <a:off x="9546086" y="3281250"/>
                <a:ext cx="205957" cy="241291"/>
              </a:xfrm>
              <a:custGeom>
                <a:avLst/>
                <a:gdLst>
                  <a:gd name="connsiteX0" fmla="*/ 187688 w 205957"/>
                  <a:gd name="connsiteY0" fmla="*/ 241292 h 241291"/>
                  <a:gd name="connsiteX1" fmla="*/ 168289 w 205957"/>
                  <a:gd name="connsiteY1" fmla="*/ 224485 h 241291"/>
                  <a:gd name="connsiteX2" fmla="*/ 135957 w 205957"/>
                  <a:gd name="connsiteY2" fmla="*/ 132693 h 241291"/>
                  <a:gd name="connsiteX3" fmla="*/ 108798 w 205957"/>
                  <a:gd name="connsiteY3" fmla="*/ 69344 h 241291"/>
                  <a:gd name="connsiteX4" fmla="*/ 75172 w 205957"/>
                  <a:gd name="connsiteY4" fmla="*/ 39609 h 241291"/>
                  <a:gd name="connsiteX5" fmla="*/ 35081 w 205957"/>
                  <a:gd name="connsiteY5" fmla="*/ 61587 h 241291"/>
                  <a:gd name="connsiteX6" fmla="*/ 7921 w 205957"/>
                  <a:gd name="connsiteY6" fmla="*/ 65466 h 241291"/>
                  <a:gd name="connsiteX7" fmla="*/ 4041 w 205957"/>
                  <a:gd name="connsiteY7" fmla="*/ 38316 h 241291"/>
                  <a:gd name="connsiteX8" fmla="*/ 81639 w 205957"/>
                  <a:gd name="connsiteY8" fmla="*/ 824 h 241291"/>
                  <a:gd name="connsiteX9" fmla="*/ 146303 w 205957"/>
                  <a:gd name="connsiteY9" fmla="*/ 56416 h 241291"/>
                  <a:gd name="connsiteX10" fmla="*/ 170876 w 205957"/>
                  <a:gd name="connsiteY10" fmla="*/ 115887 h 241291"/>
                  <a:gd name="connsiteX11" fmla="*/ 205794 w 205957"/>
                  <a:gd name="connsiteY11" fmla="*/ 218021 h 241291"/>
                  <a:gd name="connsiteX12" fmla="*/ 188981 w 205957"/>
                  <a:gd name="connsiteY12" fmla="*/ 239999 h 241291"/>
                  <a:gd name="connsiteX13" fmla="*/ 187688 w 205957"/>
                  <a:gd name="connsiteY13" fmla="*/ 241292 h 24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57" h="241291">
                    <a:moveTo>
                      <a:pt x="187688" y="241292"/>
                    </a:moveTo>
                    <a:cubicBezTo>
                      <a:pt x="178635" y="241292"/>
                      <a:pt x="169582" y="234828"/>
                      <a:pt x="168289" y="224485"/>
                    </a:cubicBezTo>
                    <a:cubicBezTo>
                      <a:pt x="163115" y="189578"/>
                      <a:pt x="148890" y="161136"/>
                      <a:pt x="135957" y="132693"/>
                    </a:cubicBezTo>
                    <a:cubicBezTo>
                      <a:pt x="126904" y="113301"/>
                      <a:pt x="116557" y="92615"/>
                      <a:pt x="108798" y="69344"/>
                    </a:cubicBezTo>
                    <a:cubicBezTo>
                      <a:pt x="104918" y="59002"/>
                      <a:pt x="91985" y="42195"/>
                      <a:pt x="75172" y="39609"/>
                    </a:cubicBezTo>
                    <a:cubicBezTo>
                      <a:pt x="62239" y="37023"/>
                      <a:pt x="48013" y="44780"/>
                      <a:pt x="35081" y="61587"/>
                    </a:cubicBezTo>
                    <a:cubicBezTo>
                      <a:pt x="28614" y="70637"/>
                      <a:pt x="16974" y="71930"/>
                      <a:pt x="7921" y="65466"/>
                    </a:cubicBezTo>
                    <a:cubicBezTo>
                      <a:pt x="-1131" y="59002"/>
                      <a:pt x="-2425" y="47366"/>
                      <a:pt x="4041" y="38316"/>
                    </a:cubicBezTo>
                    <a:cubicBezTo>
                      <a:pt x="32494" y="-469"/>
                      <a:pt x="64826" y="-1762"/>
                      <a:pt x="81639" y="824"/>
                    </a:cubicBezTo>
                    <a:cubicBezTo>
                      <a:pt x="113971" y="5995"/>
                      <a:pt x="138543" y="33145"/>
                      <a:pt x="146303" y="56416"/>
                    </a:cubicBezTo>
                    <a:cubicBezTo>
                      <a:pt x="154063" y="78394"/>
                      <a:pt x="163115" y="97787"/>
                      <a:pt x="170876" y="115887"/>
                    </a:cubicBezTo>
                    <a:cubicBezTo>
                      <a:pt x="185101" y="145622"/>
                      <a:pt x="200621" y="177943"/>
                      <a:pt x="205794" y="218021"/>
                    </a:cubicBezTo>
                    <a:cubicBezTo>
                      <a:pt x="207087" y="228363"/>
                      <a:pt x="200621" y="238706"/>
                      <a:pt x="188981" y="239999"/>
                    </a:cubicBezTo>
                    <a:cubicBezTo>
                      <a:pt x="188981" y="241292"/>
                      <a:pt x="188981" y="241292"/>
                      <a:pt x="187688" y="241292"/>
                    </a:cubicBezTo>
                    <a:close/>
                  </a:path>
                </a:pathLst>
              </a:custGeom>
              <a:grpFill/>
              <a:ln w="12931" cap="flat">
                <a:noFill/>
                <a:prstDash val="solid"/>
                <a:miter/>
              </a:ln>
            </p:spPr>
            <p:txBody>
              <a:bodyPr rtlCol="0" anchor="ctr"/>
              <a:lstStyle/>
              <a:p>
                <a:endParaRPr lang="en-US"/>
              </a:p>
            </p:txBody>
          </p:sp>
          <p:sp>
            <p:nvSpPr>
              <p:cNvPr id="12" name="Freeform 53">
                <a:extLst>
                  <a:ext uri="{FF2B5EF4-FFF2-40B4-BE49-F238E27FC236}">
                    <a16:creationId xmlns:a16="http://schemas.microsoft.com/office/drawing/2014/main" id="{A92F2E63-7C46-4477-71FF-C6EB563D5CFA}"/>
                  </a:ext>
                </a:extLst>
              </p:cNvPr>
              <p:cNvSpPr/>
              <p:nvPr/>
            </p:nvSpPr>
            <p:spPr>
              <a:xfrm>
                <a:off x="9432178" y="3236028"/>
                <a:ext cx="185859" cy="216700"/>
              </a:xfrm>
              <a:custGeom>
                <a:avLst/>
                <a:gdLst>
                  <a:gd name="connsiteX0" fmla="*/ 165801 w 185859"/>
                  <a:gd name="connsiteY0" fmla="*/ 216700 h 216700"/>
                  <a:gd name="connsiteX1" fmla="*/ 147695 w 185859"/>
                  <a:gd name="connsiteY1" fmla="*/ 202479 h 216700"/>
                  <a:gd name="connsiteX2" fmla="*/ 141228 w 185859"/>
                  <a:gd name="connsiteY2" fmla="*/ 179208 h 216700"/>
                  <a:gd name="connsiteX3" fmla="*/ 139935 w 185859"/>
                  <a:gd name="connsiteY3" fmla="*/ 176622 h 216700"/>
                  <a:gd name="connsiteX4" fmla="*/ 102430 w 185859"/>
                  <a:gd name="connsiteY4" fmla="*/ 64146 h 216700"/>
                  <a:gd name="connsiteX5" fmla="*/ 68805 w 185859"/>
                  <a:gd name="connsiteY5" fmla="*/ 38289 h 216700"/>
                  <a:gd name="connsiteX6" fmla="*/ 33886 w 185859"/>
                  <a:gd name="connsiteY6" fmla="*/ 55096 h 216700"/>
                  <a:gd name="connsiteX7" fmla="*/ 6727 w 185859"/>
                  <a:gd name="connsiteY7" fmla="*/ 57681 h 216700"/>
                  <a:gd name="connsiteX8" fmla="*/ 4140 w 185859"/>
                  <a:gd name="connsiteY8" fmla="*/ 30532 h 216700"/>
                  <a:gd name="connsiteX9" fmla="*/ 75271 w 185859"/>
                  <a:gd name="connsiteY9" fmla="*/ 797 h 216700"/>
                  <a:gd name="connsiteX10" fmla="*/ 138642 w 185859"/>
                  <a:gd name="connsiteY10" fmla="*/ 49924 h 216700"/>
                  <a:gd name="connsiteX11" fmla="*/ 177441 w 185859"/>
                  <a:gd name="connsiteY11" fmla="*/ 166280 h 216700"/>
                  <a:gd name="connsiteX12" fmla="*/ 178734 w 185859"/>
                  <a:gd name="connsiteY12" fmla="*/ 168866 h 216700"/>
                  <a:gd name="connsiteX13" fmla="*/ 185200 w 185859"/>
                  <a:gd name="connsiteY13" fmla="*/ 192136 h 216700"/>
                  <a:gd name="connsiteX14" fmla="*/ 172268 w 185859"/>
                  <a:gd name="connsiteY14" fmla="*/ 216700 h 216700"/>
                  <a:gd name="connsiteX15" fmla="*/ 165801 w 185859"/>
                  <a:gd name="connsiteY15" fmla="*/ 216700 h 21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859" h="216700">
                    <a:moveTo>
                      <a:pt x="165801" y="216700"/>
                    </a:moveTo>
                    <a:cubicBezTo>
                      <a:pt x="158042" y="216700"/>
                      <a:pt x="150282" y="211529"/>
                      <a:pt x="147695" y="202479"/>
                    </a:cubicBezTo>
                    <a:cubicBezTo>
                      <a:pt x="145109" y="194722"/>
                      <a:pt x="142522" y="186965"/>
                      <a:pt x="141228" y="179208"/>
                    </a:cubicBezTo>
                    <a:lnTo>
                      <a:pt x="139935" y="176622"/>
                    </a:lnTo>
                    <a:cubicBezTo>
                      <a:pt x="129589" y="141716"/>
                      <a:pt x="123123" y="114566"/>
                      <a:pt x="102430" y="64146"/>
                    </a:cubicBezTo>
                    <a:cubicBezTo>
                      <a:pt x="98550" y="53803"/>
                      <a:pt x="84324" y="40875"/>
                      <a:pt x="68805" y="38289"/>
                    </a:cubicBezTo>
                    <a:cubicBezTo>
                      <a:pt x="55872" y="35703"/>
                      <a:pt x="44232" y="42167"/>
                      <a:pt x="33886" y="55096"/>
                    </a:cubicBezTo>
                    <a:cubicBezTo>
                      <a:pt x="27419" y="62853"/>
                      <a:pt x="14487" y="64146"/>
                      <a:pt x="6727" y="57681"/>
                    </a:cubicBezTo>
                    <a:cubicBezTo>
                      <a:pt x="-1033" y="51217"/>
                      <a:pt x="-2326" y="38289"/>
                      <a:pt x="4140" y="30532"/>
                    </a:cubicBezTo>
                    <a:cubicBezTo>
                      <a:pt x="23540" y="7261"/>
                      <a:pt x="49405" y="-3082"/>
                      <a:pt x="75271" y="797"/>
                    </a:cubicBezTo>
                    <a:cubicBezTo>
                      <a:pt x="102430" y="4675"/>
                      <a:pt x="128296" y="25360"/>
                      <a:pt x="138642" y="49924"/>
                    </a:cubicBezTo>
                    <a:cubicBezTo>
                      <a:pt x="159335" y="102931"/>
                      <a:pt x="167094" y="130080"/>
                      <a:pt x="177441" y="166280"/>
                    </a:cubicBezTo>
                    <a:lnTo>
                      <a:pt x="178734" y="168866"/>
                    </a:lnTo>
                    <a:cubicBezTo>
                      <a:pt x="181321" y="175330"/>
                      <a:pt x="182614" y="183087"/>
                      <a:pt x="185200" y="192136"/>
                    </a:cubicBezTo>
                    <a:cubicBezTo>
                      <a:pt x="187787" y="202479"/>
                      <a:pt x="182614" y="212822"/>
                      <a:pt x="172268" y="216700"/>
                    </a:cubicBezTo>
                    <a:cubicBezTo>
                      <a:pt x="168388" y="215408"/>
                      <a:pt x="167094" y="216700"/>
                      <a:pt x="165801" y="216700"/>
                    </a:cubicBezTo>
                    <a:close/>
                  </a:path>
                </a:pathLst>
              </a:custGeom>
              <a:grpFill/>
              <a:ln w="12931" cap="flat">
                <a:noFill/>
                <a:prstDash val="solid"/>
                <a:miter/>
              </a:ln>
            </p:spPr>
            <p:txBody>
              <a:bodyPr rtlCol="0" anchor="ctr"/>
              <a:lstStyle/>
              <a:p>
                <a:endParaRPr lang="en-US"/>
              </a:p>
            </p:txBody>
          </p:sp>
          <p:sp>
            <p:nvSpPr>
              <p:cNvPr id="13" name="Freeform 54">
                <a:extLst>
                  <a:ext uri="{FF2B5EF4-FFF2-40B4-BE49-F238E27FC236}">
                    <a16:creationId xmlns:a16="http://schemas.microsoft.com/office/drawing/2014/main" id="{4485BC6B-EB9A-FF0C-B336-F99241667CE4}"/>
                  </a:ext>
                </a:extLst>
              </p:cNvPr>
              <p:cNvSpPr/>
              <p:nvPr/>
            </p:nvSpPr>
            <p:spPr>
              <a:xfrm>
                <a:off x="9312890" y="3851649"/>
                <a:ext cx="85195" cy="252669"/>
              </a:xfrm>
              <a:custGeom>
                <a:avLst/>
                <a:gdLst>
                  <a:gd name="connsiteX0" fmla="*/ 65230 w 85195"/>
                  <a:gd name="connsiteY0" fmla="*/ 252669 h 252669"/>
                  <a:gd name="connsiteX1" fmla="*/ 45831 w 85195"/>
                  <a:gd name="connsiteY1" fmla="*/ 237155 h 252669"/>
                  <a:gd name="connsiteX2" fmla="*/ 566 w 85195"/>
                  <a:gd name="connsiteY2" fmla="*/ 23837 h 252669"/>
                  <a:gd name="connsiteX3" fmla="*/ 16086 w 85195"/>
                  <a:gd name="connsiteY3" fmla="*/ 566 h 252669"/>
                  <a:gd name="connsiteX4" fmla="*/ 39365 w 85195"/>
                  <a:gd name="connsiteY4" fmla="*/ 16080 h 252669"/>
                  <a:gd name="connsiteX5" fmla="*/ 84630 w 85195"/>
                  <a:gd name="connsiteY5" fmla="*/ 229398 h 252669"/>
                  <a:gd name="connsiteX6" fmla="*/ 69110 w 85195"/>
                  <a:gd name="connsiteY6" fmla="*/ 252669 h 252669"/>
                  <a:gd name="connsiteX7" fmla="*/ 65230 w 85195"/>
                  <a:gd name="connsiteY7" fmla="*/ 252669 h 2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95" h="252669">
                    <a:moveTo>
                      <a:pt x="65230" y="252669"/>
                    </a:moveTo>
                    <a:cubicBezTo>
                      <a:pt x="56177" y="252669"/>
                      <a:pt x="48418" y="246205"/>
                      <a:pt x="45831" y="237155"/>
                    </a:cubicBezTo>
                    <a:lnTo>
                      <a:pt x="566" y="23837"/>
                    </a:lnTo>
                    <a:cubicBezTo>
                      <a:pt x="-2021" y="13494"/>
                      <a:pt x="4446" y="3152"/>
                      <a:pt x="16086" y="566"/>
                    </a:cubicBezTo>
                    <a:cubicBezTo>
                      <a:pt x="26432" y="-2020"/>
                      <a:pt x="36778" y="4444"/>
                      <a:pt x="39365" y="16080"/>
                    </a:cubicBezTo>
                    <a:lnTo>
                      <a:pt x="84630" y="229398"/>
                    </a:lnTo>
                    <a:cubicBezTo>
                      <a:pt x="87217" y="239741"/>
                      <a:pt x="80750" y="250084"/>
                      <a:pt x="69110" y="252669"/>
                    </a:cubicBezTo>
                    <a:cubicBezTo>
                      <a:pt x="67817" y="252669"/>
                      <a:pt x="66523" y="252669"/>
                      <a:pt x="65230" y="252669"/>
                    </a:cubicBezTo>
                    <a:close/>
                  </a:path>
                </a:pathLst>
              </a:custGeom>
              <a:grpFill/>
              <a:ln w="12931" cap="flat">
                <a:noFill/>
                <a:prstDash val="solid"/>
                <a:miter/>
              </a:ln>
            </p:spPr>
            <p:txBody>
              <a:bodyPr rtlCol="0" anchor="ctr"/>
              <a:lstStyle/>
              <a:p>
                <a:endParaRPr lang="en-US"/>
              </a:p>
            </p:txBody>
          </p:sp>
          <p:sp>
            <p:nvSpPr>
              <p:cNvPr id="14" name="Freeform 55">
                <a:extLst>
                  <a:ext uri="{FF2B5EF4-FFF2-40B4-BE49-F238E27FC236}">
                    <a16:creationId xmlns:a16="http://schemas.microsoft.com/office/drawing/2014/main" id="{7A58887F-6849-E35E-3B34-A2E3870C8FCB}"/>
                  </a:ext>
                </a:extLst>
              </p:cNvPr>
              <p:cNvSpPr/>
              <p:nvPr/>
            </p:nvSpPr>
            <p:spPr>
              <a:xfrm>
                <a:off x="9682801" y="3503025"/>
                <a:ext cx="163613" cy="602585"/>
              </a:xfrm>
              <a:custGeom>
                <a:avLst/>
                <a:gdLst>
                  <a:gd name="connsiteX0" fmla="*/ 62614 w 163613"/>
                  <a:gd name="connsiteY0" fmla="*/ 601293 h 602585"/>
                  <a:gd name="connsiteX1" fmla="*/ 43215 w 163613"/>
                  <a:gd name="connsiteY1" fmla="*/ 585779 h 602585"/>
                  <a:gd name="connsiteX2" fmla="*/ 536 w 163613"/>
                  <a:gd name="connsiteY2" fmla="*/ 340140 h 602585"/>
                  <a:gd name="connsiteX3" fmla="*/ 1829 w 163613"/>
                  <a:gd name="connsiteY3" fmla="*/ 328504 h 602585"/>
                  <a:gd name="connsiteX4" fmla="*/ 5709 w 163613"/>
                  <a:gd name="connsiteY4" fmla="*/ 319454 h 602585"/>
                  <a:gd name="connsiteX5" fmla="*/ 124691 w 163613"/>
                  <a:gd name="connsiteY5" fmla="*/ 18223 h 602585"/>
                  <a:gd name="connsiteX6" fmla="*/ 145384 w 163613"/>
                  <a:gd name="connsiteY6" fmla="*/ 123 h 602585"/>
                  <a:gd name="connsiteX7" fmla="*/ 163490 w 163613"/>
                  <a:gd name="connsiteY7" fmla="*/ 20809 h 602585"/>
                  <a:gd name="connsiteX8" fmla="*/ 40628 w 163613"/>
                  <a:gd name="connsiteY8" fmla="*/ 336261 h 602585"/>
                  <a:gd name="connsiteX9" fmla="*/ 39334 w 163613"/>
                  <a:gd name="connsiteY9" fmla="*/ 340140 h 602585"/>
                  <a:gd name="connsiteX10" fmla="*/ 80719 w 163613"/>
                  <a:gd name="connsiteY10" fmla="*/ 580608 h 602585"/>
                  <a:gd name="connsiteX11" fmla="*/ 65200 w 163613"/>
                  <a:gd name="connsiteY11" fmla="*/ 602586 h 602585"/>
                  <a:gd name="connsiteX12" fmla="*/ 62614 w 163613"/>
                  <a:gd name="connsiteY12" fmla="*/ 601293 h 60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613" h="602585">
                    <a:moveTo>
                      <a:pt x="62614" y="601293"/>
                    </a:moveTo>
                    <a:cubicBezTo>
                      <a:pt x="53561" y="601293"/>
                      <a:pt x="45801" y="594829"/>
                      <a:pt x="43215" y="585779"/>
                    </a:cubicBezTo>
                    <a:lnTo>
                      <a:pt x="536" y="340140"/>
                    </a:lnTo>
                    <a:cubicBezTo>
                      <a:pt x="-757" y="336261"/>
                      <a:pt x="536" y="332383"/>
                      <a:pt x="1829" y="328504"/>
                    </a:cubicBezTo>
                    <a:lnTo>
                      <a:pt x="5709" y="319454"/>
                    </a:lnTo>
                    <a:cubicBezTo>
                      <a:pt x="57440" y="208270"/>
                      <a:pt x="120812" y="71230"/>
                      <a:pt x="124691" y="18223"/>
                    </a:cubicBezTo>
                    <a:cubicBezTo>
                      <a:pt x="125984" y="7881"/>
                      <a:pt x="135038" y="-1169"/>
                      <a:pt x="145384" y="123"/>
                    </a:cubicBezTo>
                    <a:cubicBezTo>
                      <a:pt x="155730" y="1416"/>
                      <a:pt x="164783" y="10466"/>
                      <a:pt x="163490" y="20809"/>
                    </a:cubicBezTo>
                    <a:cubicBezTo>
                      <a:pt x="159610" y="81572"/>
                      <a:pt x="96239" y="216027"/>
                      <a:pt x="40628" y="336261"/>
                    </a:cubicBezTo>
                    <a:lnTo>
                      <a:pt x="39334" y="340140"/>
                    </a:lnTo>
                    <a:lnTo>
                      <a:pt x="80719" y="580608"/>
                    </a:lnTo>
                    <a:cubicBezTo>
                      <a:pt x="82013" y="590950"/>
                      <a:pt x="75547" y="601293"/>
                      <a:pt x="65200" y="602586"/>
                    </a:cubicBezTo>
                    <a:cubicBezTo>
                      <a:pt x="65200" y="601293"/>
                      <a:pt x="63907" y="601293"/>
                      <a:pt x="62614" y="601293"/>
                    </a:cubicBezTo>
                    <a:close/>
                  </a:path>
                </a:pathLst>
              </a:custGeom>
              <a:grpFill/>
              <a:ln w="12931" cap="flat">
                <a:noFill/>
                <a:prstDash val="solid"/>
                <a:miter/>
              </a:ln>
            </p:spPr>
            <p:txBody>
              <a:bodyPr rtlCol="0" anchor="ctr"/>
              <a:lstStyle/>
              <a:p>
                <a:endParaRPr lang="en-US"/>
              </a:p>
            </p:txBody>
          </p:sp>
          <p:sp>
            <p:nvSpPr>
              <p:cNvPr id="15" name="Freeform 56">
                <a:extLst>
                  <a:ext uri="{FF2B5EF4-FFF2-40B4-BE49-F238E27FC236}">
                    <a16:creationId xmlns:a16="http://schemas.microsoft.com/office/drawing/2014/main" id="{681E1C22-1189-9085-ECCC-B83247F37CBD}"/>
                  </a:ext>
                </a:extLst>
              </p:cNvPr>
              <p:cNvSpPr/>
              <p:nvPr/>
            </p:nvSpPr>
            <p:spPr>
              <a:xfrm>
                <a:off x="9285004" y="2893887"/>
                <a:ext cx="193992" cy="790259"/>
              </a:xfrm>
              <a:custGeom>
                <a:avLst/>
                <a:gdLst>
                  <a:gd name="connsiteX0" fmla="*/ 19399 w 193992"/>
                  <a:gd name="connsiteY0" fmla="*/ 790259 h 790259"/>
                  <a:gd name="connsiteX1" fmla="*/ 0 w 193992"/>
                  <a:gd name="connsiteY1" fmla="*/ 770867 h 790259"/>
                  <a:gd name="connsiteX2" fmla="*/ 11640 w 193992"/>
                  <a:gd name="connsiteY2" fmla="*/ 620898 h 790259"/>
                  <a:gd name="connsiteX3" fmla="*/ 20693 w 193992"/>
                  <a:gd name="connsiteY3" fmla="*/ 543327 h 790259"/>
                  <a:gd name="connsiteX4" fmla="*/ 25866 w 193992"/>
                  <a:gd name="connsiteY4" fmla="*/ 306738 h 790259"/>
                  <a:gd name="connsiteX5" fmla="*/ 24573 w 193992"/>
                  <a:gd name="connsiteY5" fmla="*/ 267953 h 790259"/>
                  <a:gd name="connsiteX6" fmla="*/ 23279 w 193992"/>
                  <a:gd name="connsiteY6" fmla="*/ 183919 h 790259"/>
                  <a:gd name="connsiteX7" fmla="*/ 38799 w 193992"/>
                  <a:gd name="connsiteY7" fmla="*/ 48171 h 790259"/>
                  <a:gd name="connsiteX8" fmla="*/ 115103 w 193992"/>
                  <a:gd name="connsiteY8" fmla="*/ 1628 h 790259"/>
                  <a:gd name="connsiteX9" fmla="*/ 162955 w 193992"/>
                  <a:gd name="connsiteY9" fmla="*/ 71442 h 790259"/>
                  <a:gd name="connsiteX10" fmla="*/ 161661 w 193992"/>
                  <a:gd name="connsiteY10" fmla="*/ 177454 h 790259"/>
                  <a:gd name="connsiteX11" fmla="*/ 170714 w 193992"/>
                  <a:gd name="connsiteY11" fmla="*/ 256317 h 790259"/>
                  <a:gd name="connsiteX12" fmla="*/ 175887 w 193992"/>
                  <a:gd name="connsiteY12" fmla="*/ 296395 h 790259"/>
                  <a:gd name="connsiteX13" fmla="*/ 187526 w 193992"/>
                  <a:gd name="connsiteY13" fmla="*/ 419215 h 790259"/>
                  <a:gd name="connsiteX14" fmla="*/ 193993 w 193992"/>
                  <a:gd name="connsiteY14" fmla="*/ 543327 h 790259"/>
                  <a:gd name="connsiteX15" fmla="*/ 175887 w 193992"/>
                  <a:gd name="connsiteY15" fmla="*/ 564013 h 790259"/>
                  <a:gd name="connsiteX16" fmla="*/ 155194 w 193992"/>
                  <a:gd name="connsiteY16" fmla="*/ 545913 h 790259"/>
                  <a:gd name="connsiteX17" fmla="*/ 148728 w 193992"/>
                  <a:gd name="connsiteY17" fmla="*/ 423093 h 790259"/>
                  <a:gd name="connsiteX18" fmla="*/ 137089 w 193992"/>
                  <a:gd name="connsiteY18" fmla="*/ 301567 h 790259"/>
                  <a:gd name="connsiteX19" fmla="*/ 131915 w 193992"/>
                  <a:gd name="connsiteY19" fmla="*/ 261489 h 790259"/>
                  <a:gd name="connsiteX20" fmla="*/ 122862 w 193992"/>
                  <a:gd name="connsiteY20" fmla="*/ 181333 h 790259"/>
                  <a:gd name="connsiteX21" fmla="*/ 124156 w 193992"/>
                  <a:gd name="connsiteY21" fmla="*/ 66270 h 790259"/>
                  <a:gd name="connsiteX22" fmla="*/ 106050 w 193992"/>
                  <a:gd name="connsiteY22" fmla="*/ 37828 h 790259"/>
                  <a:gd name="connsiteX23" fmla="*/ 87943 w 193992"/>
                  <a:gd name="connsiteY23" fmla="*/ 40413 h 790259"/>
                  <a:gd name="connsiteX24" fmla="*/ 76304 w 193992"/>
                  <a:gd name="connsiteY24" fmla="*/ 55927 h 790259"/>
                  <a:gd name="connsiteX25" fmla="*/ 62078 w 193992"/>
                  <a:gd name="connsiteY25" fmla="*/ 182626 h 790259"/>
                  <a:gd name="connsiteX26" fmla="*/ 63371 w 193992"/>
                  <a:gd name="connsiteY26" fmla="*/ 265367 h 790259"/>
                  <a:gd name="connsiteX27" fmla="*/ 64664 w 193992"/>
                  <a:gd name="connsiteY27" fmla="*/ 304152 h 790259"/>
                  <a:gd name="connsiteX28" fmla="*/ 59492 w 193992"/>
                  <a:gd name="connsiteY28" fmla="*/ 543327 h 790259"/>
                  <a:gd name="connsiteX29" fmla="*/ 50438 w 193992"/>
                  <a:gd name="connsiteY29" fmla="*/ 624776 h 790259"/>
                  <a:gd name="connsiteX30" fmla="*/ 38799 w 193992"/>
                  <a:gd name="connsiteY30" fmla="*/ 768281 h 790259"/>
                  <a:gd name="connsiteX31" fmla="*/ 19399 w 193992"/>
                  <a:gd name="connsiteY31" fmla="*/ 790259 h 79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992" h="790259">
                    <a:moveTo>
                      <a:pt x="19399" y="790259"/>
                    </a:moveTo>
                    <a:cubicBezTo>
                      <a:pt x="9053" y="790259"/>
                      <a:pt x="0" y="781209"/>
                      <a:pt x="0" y="770867"/>
                    </a:cubicBezTo>
                    <a:cubicBezTo>
                      <a:pt x="0" y="697175"/>
                      <a:pt x="6466" y="658390"/>
                      <a:pt x="11640" y="620898"/>
                    </a:cubicBezTo>
                    <a:cubicBezTo>
                      <a:pt x="15520" y="597627"/>
                      <a:pt x="18106" y="574355"/>
                      <a:pt x="20693" y="543327"/>
                    </a:cubicBezTo>
                    <a:cubicBezTo>
                      <a:pt x="25866" y="461879"/>
                      <a:pt x="27159" y="384308"/>
                      <a:pt x="25866" y="306738"/>
                    </a:cubicBezTo>
                    <a:cubicBezTo>
                      <a:pt x="25866" y="293810"/>
                      <a:pt x="25866" y="280881"/>
                      <a:pt x="24573" y="267953"/>
                    </a:cubicBezTo>
                    <a:cubicBezTo>
                      <a:pt x="24573" y="240803"/>
                      <a:pt x="23279" y="212361"/>
                      <a:pt x="23279" y="183919"/>
                    </a:cubicBezTo>
                    <a:cubicBezTo>
                      <a:pt x="23279" y="134791"/>
                      <a:pt x="28452" y="89541"/>
                      <a:pt x="38799" y="48171"/>
                    </a:cubicBezTo>
                    <a:cubicBezTo>
                      <a:pt x="46559" y="14557"/>
                      <a:pt x="81477" y="-6129"/>
                      <a:pt x="115103" y="1628"/>
                    </a:cubicBezTo>
                    <a:cubicBezTo>
                      <a:pt x="146141" y="9385"/>
                      <a:pt x="166834" y="39121"/>
                      <a:pt x="162955" y="71442"/>
                    </a:cubicBezTo>
                    <a:cubicBezTo>
                      <a:pt x="157781" y="105055"/>
                      <a:pt x="157781" y="138669"/>
                      <a:pt x="161661" y="177454"/>
                    </a:cubicBezTo>
                    <a:cubicBezTo>
                      <a:pt x="164247" y="203311"/>
                      <a:pt x="166834" y="229168"/>
                      <a:pt x="170714" y="256317"/>
                    </a:cubicBezTo>
                    <a:cubicBezTo>
                      <a:pt x="172007" y="269246"/>
                      <a:pt x="173301" y="283467"/>
                      <a:pt x="175887" y="296395"/>
                    </a:cubicBezTo>
                    <a:cubicBezTo>
                      <a:pt x="181060" y="337766"/>
                      <a:pt x="184940" y="379137"/>
                      <a:pt x="187526" y="419215"/>
                    </a:cubicBezTo>
                    <a:cubicBezTo>
                      <a:pt x="191406" y="461879"/>
                      <a:pt x="192700" y="505835"/>
                      <a:pt x="193993" y="543327"/>
                    </a:cubicBezTo>
                    <a:cubicBezTo>
                      <a:pt x="193993" y="553670"/>
                      <a:pt x="186234" y="562720"/>
                      <a:pt x="175887" y="564013"/>
                    </a:cubicBezTo>
                    <a:cubicBezTo>
                      <a:pt x="165540" y="564013"/>
                      <a:pt x="156488" y="556256"/>
                      <a:pt x="155194" y="545913"/>
                    </a:cubicBezTo>
                    <a:cubicBezTo>
                      <a:pt x="153901" y="508421"/>
                      <a:pt x="151315" y="465757"/>
                      <a:pt x="148728" y="423093"/>
                    </a:cubicBezTo>
                    <a:cubicBezTo>
                      <a:pt x="146141" y="383015"/>
                      <a:pt x="142261" y="341645"/>
                      <a:pt x="137089" y="301567"/>
                    </a:cubicBezTo>
                    <a:cubicBezTo>
                      <a:pt x="135795" y="288638"/>
                      <a:pt x="134502" y="274417"/>
                      <a:pt x="131915" y="261489"/>
                    </a:cubicBezTo>
                    <a:cubicBezTo>
                      <a:pt x="128036" y="234339"/>
                      <a:pt x="125449" y="207190"/>
                      <a:pt x="122862" y="181333"/>
                    </a:cubicBezTo>
                    <a:cubicBezTo>
                      <a:pt x="118982" y="138669"/>
                      <a:pt x="118982" y="102470"/>
                      <a:pt x="124156" y="66270"/>
                    </a:cubicBezTo>
                    <a:cubicBezTo>
                      <a:pt x="125449" y="53342"/>
                      <a:pt x="117690" y="41706"/>
                      <a:pt x="106050" y="37828"/>
                    </a:cubicBezTo>
                    <a:cubicBezTo>
                      <a:pt x="99583" y="36535"/>
                      <a:pt x="93117" y="37828"/>
                      <a:pt x="87943" y="40413"/>
                    </a:cubicBezTo>
                    <a:cubicBezTo>
                      <a:pt x="82771" y="44292"/>
                      <a:pt x="78891" y="49463"/>
                      <a:pt x="76304" y="55927"/>
                    </a:cubicBezTo>
                    <a:cubicBezTo>
                      <a:pt x="67251" y="93420"/>
                      <a:pt x="62078" y="136084"/>
                      <a:pt x="62078" y="182626"/>
                    </a:cubicBezTo>
                    <a:cubicBezTo>
                      <a:pt x="62078" y="211068"/>
                      <a:pt x="62078" y="238218"/>
                      <a:pt x="63371" y="265367"/>
                    </a:cubicBezTo>
                    <a:cubicBezTo>
                      <a:pt x="63371" y="278296"/>
                      <a:pt x="63371" y="291224"/>
                      <a:pt x="64664" y="304152"/>
                    </a:cubicBezTo>
                    <a:cubicBezTo>
                      <a:pt x="65958" y="383015"/>
                      <a:pt x="64664" y="460586"/>
                      <a:pt x="59492" y="543327"/>
                    </a:cubicBezTo>
                    <a:cubicBezTo>
                      <a:pt x="56905" y="576941"/>
                      <a:pt x="54318" y="601505"/>
                      <a:pt x="50438" y="624776"/>
                    </a:cubicBezTo>
                    <a:cubicBezTo>
                      <a:pt x="45265" y="660976"/>
                      <a:pt x="38799" y="698468"/>
                      <a:pt x="38799" y="768281"/>
                    </a:cubicBezTo>
                    <a:cubicBezTo>
                      <a:pt x="38799" y="782502"/>
                      <a:pt x="29745" y="790259"/>
                      <a:pt x="19399" y="790259"/>
                    </a:cubicBezTo>
                    <a:close/>
                  </a:path>
                </a:pathLst>
              </a:custGeom>
              <a:grpFill/>
              <a:ln w="12931" cap="flat">
                <a:noFill/>
                <a:prstDash val="solid"/>
                <a:miter/>
              </a:ln>
            </p:spPr>
            <p:txBody>
              <a:bodyPr rtlCol="0" anchor="ctr"/>
              <a:lstStyle/>
              <a:p>
                <a:endParaRPr lang="en-US"/>
              </a:p>
            </p:txBody>
          </p:sp>
        </p:grpSp>
      </p:grpSp>
      <p:pic>
        <p:nvPicPr>
          <p:cNvPr id="2" name="Picture Placeholder 18" descr="Close up of heart shaped pages of a book">
            <a:extLst>
              <a:ext uri="{FF2B5EF4-FFF2-40B4-BE49-F238E27FC236}">
                <a16:creationId xmlns:a16="http://schemas.microsoft.com/office/drawing/2014/main" id="{BD001282-CCEC-005D-6DCC-A165F9A6215F}"/>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7542" r="27542"/>
          <a:stretch>
            <a:fillRect/>
          </a:stretch>
        </p:blipFill>
        <p:spPr>
          <a:xfrm>
            <a:off x="0" y="0"/>
            <a:ext cx="4614863" cy="6858000"/>
          </a:xfrm>
        </p:spPr>
      </p:pic>
    </p:spTree>
    <p:extLst>
      <p:ext uri="{BB962C8B-B14F-4D97-AF65-F5344CB8AC3E}">
        <p14:creationId xmlns:p14="http://schemas.microsoft.com/office/powerpoint/2010/main" val="3593250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D719C3-A6B1-10AC-98C0-38F7460938B8}"/>
              </a:ext>
            </a:extLst>
          </p:cNvPr>
          <p:cNvGraphicFramePr>
            <a:graphicFrameLocks noChangeAspect="1"/>
          </p:cNvGraphicFramePr>
          <p:nvPr>
            <p:custDataLst>
              <p:tags r:id="rId1"/>
            </p:custDataLst>
            <p:extLst>
              <p:ext uri="{D42A27DB-BD31-4B8C-83A1-F6EECF244321}">
                <p14:modId xmlns:p14="http://schemas.microsoft.com/office/powerpoint/2010/main" val="152266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a:extLst>
              <a:ext uri="{FF2B5EF4-FFF2-40B4-BE49-F238E27FC236}">
                <a16:creationId xmlns:a16="http://schemas.microsoft.com/office/drawing/2014/main" id="{9B57E64B-2ABF-EBE4-DF55-E010D9F4ED31}"/>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86" b="6886"/>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US" b="1" dirty="0"/>
              <a:t>ETHISCHE GESCHÄFTSPRAKTIKEN</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3</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4254269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3C198-120D-1BCD-0E14-647C81A836AC}"/>
              </a:ext>
            </a:extLst>
          </p:cNvPr>
          <p:cNvGraphicFramePr>
            <a:graphicFrameLocks noChangeAspect="1"/>
          </p:cNvGraphicFramePr>
          <p:nvPr>
            <p:custDataLst>
              <p:tags r:id="rId1"/>
            </p:custDataLst>
            <p:extLst>
              <p:ext uri="{D42A27DB-BD31-4B8C-83A1-F6EECF244321}">
                <p14:modId xmlns:p14="http://schemas.microsoft.com/office/powerpoint/2010/main" val="32781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Different sizes of pebbles stacked in a stony shore">
            <a:extLst>
              <a:ext uri="{FF2B5EF4-FFF2-40B4-BE49-F238E27FC236}">
                <a16:creationId xmlns:a16="http://schemas.microsoft.com/office/drawing/2014/main" id="{D0187810-1BE0-B562-B7F9-9C34E8C96F06}"/>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33665" r="33665"/>
          <a:stretch/>
        </p:blipFill>
        <p:spPr>
          <a:xfrm>
            <a:off x="884238" y="0"/>
            <a:ext cx="3360737" cy="6858000"/>
          </a:xfrm>
        </p:spPr>
      </p:pic>
      <p:sp>
        <p:nvSpPr>
          <p:cNvPr id="3" name="Text Placeholder 2">
            <a:extLst>
              <a:ext uri="{FF2B5EF4-FFF2-40B4-BE49-F238E27FC236}">
                <a16:creationId xmlns:a16="http://schemas.microsoft.com/office/drawing/2014/main" id="{98AECF89-3ADF-B572-89DC-DF80364A24A5}"/>
              </a:ext>
            </a:extLst>
          </p:cNvPr>
          <p:cNvSpPr>
            <a:spLocks noGrp="1"/>
          </p:cNvSpPr>
          <p:nvPr>
            <p:ph type="body" sz="quarter" idx="30"/>
          </p:nvPr>
        </p:nvSpPr>
        <p:spPr/>
        <p:txBody>
          <a:bodyPr/>
          <a:lstStyle/>
          <a:p>
            <a:r>
              <a:rPr lang="en-IE" dirty="0"/>
              <a:t>Einführung</a:t>
            </a:r>
          </a:p>
        </p:txBody>
      </p:sp>
      <p:sp>
        <p:nvSpPr>
          <p:cNvPr id="4" name="Text Placeholder 3">
            <a:extLst>
              <a:ext uri="{FF2B5EF4-FFF2-40B4-BE49-F238E27FC236}">
                <a16:creationId xmlns:a16="http://schemas.microsoft.com/office/drawing/2014/main" id="{6A486987-6B1C-C049-BA71-D489E293035E}"/>
              </a:ext>
            </a:extLst>
          </p:cNvPr>
          <p:cNvSpPr>
            <a:spLocks noGrp="1"/>
          </p:cNvSpPr>
          <p:nvPr>
            <p:ph type="body" sz="quarter" idx="48"/>
          </p:nvPr>
        </p:nvSpPr>
        <p:spPr>
          <a:xfrm>
            <a:off x="4789714" y="1626919"/>
            <a:ext cx="6877679" cy="4675027"/>
          </a:xfrm>
        </p:spPr>
        <p:txBody>
          <a:bodyPr/>
          <a:lstStyle/>
          <a:p>
            <a:pPr algn="just">
              <a:spcAft>
                <a:spcPts val="600"/>
              </a:spcAft>
            </a:pPr>
            <a:r>
              <a:rPr lang="en-GB" sz="2400" dirty="0"/>
              <a:t>In diesem Abschnitt geht es darum, ein Verständnis für ethische Geschäftspraktiken zu schaffen und den entscheidenden Schulungsbedarf für verantwortungsvolles Unternehmertum zu decken. </a:t>
            </a:r>
          </a:p>
          <a:p>
            <a:pPr algn="just">
              <a:spcAft>
                <a:spcPts val="600"/>
              </a:spcAft>
            </a:pPr>
            <a:r>
              <a:rPr lang="en-GB" sz="2400" dirty="0"/>
              <a:t>Die Teilnehmer werden sich mit der Bedeutung ethischer Erwägungen bei der Entscheidungsfindung in Unternehmen befassen und erfahren, wie ethische Praktiken zu einer nachhaltigen Entwicklung beitragen. </a:t>
            </a:r>
          </a:p>
          <a:p>
            <a:pPr algn="just">
              <a:spcAft>
                <a:spcPts val="600"/>
              </a:spcAft>
            </a:pPr>
            <a:r>
              <a:rPr lang="en-GB" sz="2400" dirty="0"/>
              <a:t>Die Schulung zielt darauf ab, ein Gefühl für ethisches Bewusstsein und Verantwortung zu vermitteln und eine Verpflichtung zu </a:t>
            </a:r>
            <a:r>
              <a:rPr lang="en-GB" sz="2400" b="1" dirty="0"/>
              <a:t>Integrität, Transparenz und Fairness im Geschäftsleben </a:t>
            </a:r>
            <a:r>
              <a:rPr lang="en-GB" sz="2400" dirty="0"/>
              <a:t>zu schaffen. </a:t>
            </a:r>
            <a:endParaRPr lang="en-IE" sz="2400" dirty="0"/>
          </a:p>
          <a:p>
            <a:pPr>
              <a:spcAft>
                <a:spcPts val="600"/>
              </a:spcAft>
            </a:pPr>
            <a:endParaRPr lang="en-IE" sz="2400" dirty="0"/>
          </a:p>
        </p:txBody>
      </p:sp>
      <p:grpSp>
        <p:nvGrpSpPr>
          <p:cNvPr id="7" name="Group 6">
            <a:extLst>
              <a:ext uri="{FF2B5EF4-FFF2-40B4-BE49-F238E27FC236}">
                <a16:creationId xmlns:a16="http://schemas.microsoft.com/office/drawing/2014/main" id="{B691C06B-C042-D8E4-BFFB-2249CEC35EEE}"/>
              </a:ext>
            </a:extLst>
          </p:cNvPr>
          <p:cNvGrpSpPr/>
          <p:nvPr/>
        </p:nvGrpSpPr>
        <p:grpSpPr>
          <a:xfrm>
            <a:off x="-699459" y="5211098"/>
            <a:ext cx="5074615" cy="2369127"/>
            <a:chOff x="-1871944" y="1778846"/>
            <a:chExt cx="1736764" cy="810823"/>
          </a:xfrm>
          <a:solidFill>
            <a:schemeClr val="bg1">
              <a:alpha val="56867"/>
            </a:schemeClr>
          </a:solidFill>
        </p:grpSpPr>
        <p:sp>
          <p:nvSpPr>
            <p:cNvPr id="8" name="Freeform 8">
              <a:extLst>
                <a:ext uri="{FF2B5EF4-FFF2-40B4-BE49-F238E27FC236}">
                  <a16:creationId xmlns:a16="http://schemas.microsoft.com/office/drawing/2014/main" id="{E9D8D826-CD36-7D4D-CE28-85A1F024C2E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9" name="Freeform 10">
              <a:extLst>
                <a:ext uri="{FF2B5EF4-FFF2-40B4-BE49-F238E27FC236}">
                  <a16:creationId xmlns:a16="http://schemas.microsoft.com/office/drawing/2014/main" id="{6A096DC2-EC5D-DE97-E248-E445ADD5D7F3}"/>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F0F92DFA-E31A-8E9F-1B98-491DBAA5520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8E897CA4-A7ED-6FFF-5067-28C0D3A6E7FB}"/>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2" name="Freeform 15">
              <a:extLst>
                <a:ext uri="{FF2B5EF4-FFF2-40B4-BE49-F238E27FC236}">
                  <a16:creationId xmlns:a16="http://schemas.microsoft.com/office/drawing/2014/main" id="{B0E0B0D8-3820-02A6-A7AE-DA6AD24132A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3" name="Freeform 16">
              <a:extLst>
                <a:ext uri="{FF2B5EF4-FFF2-40B4-BE49-F238E27FC236}">
                  <a16:creationId xmlns:a16="http://schemas.microsoft.com/office/drawing/2014/main" id="{44196654-EB28-6D07-5F0B-9C3A92879640}"/>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841429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D08E74D-8824-1D45-92D0-C558923AA8CC}"/>
              </a:ext>
            </a:extLst>
          </p:cNvPr>
          <p:cNvSpPr>
            <a:spLocks noGrp="1"/>
          </p:cNvSpPr>
          <p:nvPr>
            <p:ph type="body" sz="quarter" idx="11"/>
          </p:nvPr>
        </p:nvSpPr>
        <p:spPr/>
        <p:txBody>
          <a:bodyPr/>
          <a:lstStyle/>
          <a:p>
            <a:r>
              <a:rPr lang="en-US" dirty="0"/>
              <a:t>01</a:t>
            </a:r>
          </a:p>
        </p:txBody>
      </p:sp>
      <p:sp>
        <p:nvSpPr>
          <p:cNvPr id="18" name="Text Placeholder 17">
            <a:extLst>
              <a:ext uri="{FF2B5EF4-FFF2-40B4-BE49-F238E27FC236}">
                <a16:creationId xmlns:a16="http://schemas.microsoft.com/office/drawing/2014/main" id="{5BD3EE41-58A4-F347-B487-F6E6A4B2A74A}"/>
              </a:ext>
            </a:extLst>
          </p:cNvPr>
          <p:cNvSpPr>
            <a:spLocks noGrp="1"/>
          </p:cNvSpPr>
          <p:nvPr>
            <p:ph type="body" sz="quarter" idx="49"/>
          </p:nvPr>
        </p:nvSpPr>
        <p:spPr>
          <a:xfrm>
            <a:off x="3567808" y="2444488"/>
            <a:ext cx="5996322" cy="223473"/>
          </a:xfrm>
        </p:spPr>
        <p:txBody>
          <a:bodyPr/>
          <a:lstStyle/>
          <a:p>
            <a:r>
              <a:rPr lang="en-US" dirty="0"/>
              <a:t>Einführung in nachhaltige Geschäftspraktiken</a:t>
            </a:r>
          </a:p>
        </p:txBody>
      </p:sp>
      <p:sp>
        <p:nvSpPr>
          <p:cNvPr id="10" name="Text Placeholder 9">
            <a:extLst>
              <a:ext uri="{FF2B5EF4-FFF2-40B4-BE49-F238E27FC236}">
                <a16:creationId xmlns:a16="http://schemas.microsoft.com/office/drawing/2014/main" id="{9FF91A7C-8453-734D-8C11-8B904D12FD0D}"/>
              </a:ext>
            </a:extLst>
          </p:cNvPr>
          <p:cNvSpPr>
            <a:spLocks noGrp="1"/>
          </p:cNvSpPr>
          <p:nvPr>
            <p:ph type="body" sz="quarter" idx="13"/>
          </p:nvPr>
        </p:nvSpPr>
        <p:spPr/>
        <p:txBody>
          <a:bodyPr/>
          <a:lstStyle/>
          <a:p>
            <a:r>
              <a:rPr lang="en-US" dirty="0"/>
              <a:t>02</a:t>
            </a:r>
          </a:p>
        </p:txBody>
      </p:sp>
      <p:sp>
        <p:nvSpPr>
          <p:cNvPr id="11" name="Text Placeholder 10">
            <a:extLst>
              <a:ext uri="{FF2B5EF4-FFF2-40B4-BE49-F238E27FC236}">
                <a16:creationId xmlns:a16="http://schemas.microsoft.com/office/drawing/2014/main" id="{24ED337C-F64E-DA49-AD56-28A14BCEEFB2}"/>
              </a:ext>
            </a:extLst>
          </p:cNvPr>
          <p:cNvSpPr>
            <a:spLocks noGrp="1"/>
          </p:cNvSpPr>
          <p:nvPr>
            <p:ph type="body" sz="quarter" idx="14"/>
          </p:nvPr>
        </p:nvSpPr>
        <p:spPr/>
        <p:txBody>
          <a:bodyPr/>
          <a:lstStyle/>
          <a:p>
            <a:r>
              <a:rPr lang="en-US" dirty="0"/>
              <a:t>Triple Bottom Line (TBL)-Ansatz</a:t>
            </a:r>
          </a:p>
        </p:txBody>
      </p:sp>
      <p:sp>
        <p:nvSpPr>
          <p:cNvPr id="12" name="Text Placeholder 11">
            <a:extLst>
              <a:ext uri="{FF2B5EF4-FFF2-40B4-BE49-F238E27FC236}">
                <a16:creationId xmlns:a16="http://schemas.microsoft.com/office/drawing/2014/main" id="{BF5B6173-46F8-114D-AC3C-D521B40B69DA}"/>
              </a:ext>
            </a:extLst>
          </p:cNvPr>
          <p:cNvSpPr>
            <a:spLocks noGrp="1"/>
          </p:cNvSpPr>
          <p:nvPr>
            <p:ph type="body" sz="quarter" idx="15"/>
          </p:nvPr>
        </p:nvSpPr>
        <p:spPr/>
        <p:txBody>
          <a:bodyPr/>
          <a:lstStyle/>
          <a:p>
            <a:r>
              <a:rPr lang="en-US" dirty="0"/>
              <a:t>03</a:t>
            </a:r>
          </a:p>
        </p:txBody>
      </p:sp>
      <p:sp>
        <p:nvSpPr>
          <p:cNvPr id="14" name="Text Placeholder 13">
            <a:extLst>
              <a:ext uri="{FF2B5EF4-FFF2-40B4-BE49-F238E27FC236}">
                <a16:creationId xmlns:a16="http://schemas.microsoft.com/office/drawing/2014/main" id="{67C331F7-5757-6641-9BBF-CD38714CB570}"/>
              </a:ext>
            </a:extLst>
          </p:cNvPr>
          <p:cNvSpPr>
            <a:spLocks noGrp="1"/>
          </p:cNvSpPr>
          <p:nvPr>
            <p:ph type="body" sz="quarter" idx="19"/>
          </p:nvPr>
        </p:nvSpPr>
        <p:spPr/>
        <p:txBody>
          <a:bodyPr/>
          <a:lstStyle/>
          <a:p>
            <a:r>
              <a:rPr lang="en-US" dirty="0"/>
              <a:t>Ethische Geschäftspraktiken</a:t>
            </a:r>
          </a:p>
        </p:txBody>
      </p:sp>
      <p:sp>
        <p:nvSpPr>
          <p:cNvPr id="13" name="Text Placeholder 12">
            <a:extLst>
              <a:ext uri="{FF2B5EF4-FFF2-40B4-BE49-F238E27FC236}">
                <a16:creationId xmlns:a16="http://schemas.microsoft.com/office/drawing/2014/main" id="{52310EBE-4E3C-B445-BD97-7B2640FD7918}"/>
              </a:ext>
            </a:extLst>
          </p:cNvPr>
          <p:cNvSpPr>
            <a:spLocks noGrp="1"/>
          </p:cNvSpPr>
          <p:nvPr>
            <p:ph type="body" sz="quarter" idx="17"/>
          </p:nvPr>
        </p:nvSpPr>
        <p:spPr/>
        <p:txBody>
          <a:bodyPr/>
          <a:lstStyle/>
          <a:p>
            <a:r>
              <a:rPr lang="en-US" dirty="0"/>
              <a:t>04</a:t>
            </a:r>
          </a:p>
        </p:txBody>
      </p:sp>
      <p:sp>
        <p:nvSpPr>
          <p:cNvPr id="15" name="Text Placeholder 14">
            <a:extLst>
              <a:ext uri="{FF2B5EF4-FFF2-40B4-BE49-F238E27FC236}">
                <a16:creationId xmlns:a16="http://schemas.microsoft.com/office/drawing/2014/main" id="{A3B016CE-DAB6-9640-B44D-A78DE1197BA2}"/>
              </a:ext>
            </a:extLst>
          </p:cNvPr>
          <p:cNvSpPr>
            <a:spLocks noGrp="1"/>
          </p:cNvSpPr>
          <p:nvPr>
            <p:ph type="body" sz="quarter" idx="20"/>
          </p:nvPr>
        </p:nvSpPr>
        <p:spPr/>
        <p:txBody>
          <a:bodyPr/>
          <a:lstStyle/>
          <a:p>
            <a:r>
              <a:rPr lang="en-US" dirty="0"/>
              <a:t>Verantwortung für die Umwelt</a:t>
            </a:r>
          </a:p>
        </p:txBody>
      </p:sp>
      <p:sp>
        <p:nvSpPr>
          <p:cNvPr id="16" name="Text Placeholder 15">
            <a:extLst>
              <a:ext uri="{FF2B5EF4-FFF2-40B4-BE49-F238E27FC236}">
                <a16:creationId xmlns:a16="http://schemas.microsoft.com/office/drawing/2014/main" id="{1337B424-7DC9-8345-8319-760211015880}"/>
              </a:ext>
            </a:extLst>
          </p:cNvPr>
          <p:cNvSpPr>
            <a:spLocks noGrp="1"/>
          </p:cNvSpPr>
          <p:nvPr>
            <p:ph type="body" sz="quarter" idx="21"/>
          </p:nvPr>
        </p:nvSpPr>
        <p:spPr/>
        <p:txBody>
          <a:bodyPr/>
          <a:lstStyle/>
          <a:p>
            <a:r>
              <a:rPr lang="en-US" dirty="0"/>
              <a:t>05</a:t>
            </a:r>
          </a:p>
        </p:txBody>
      </p:sp>
      <p:sp>
        <p:nvSpPr>
          <p:cNvPr id="17" name="Text Placeholder 16">
            <a:extLst>
              <a:ext uri="{FF2B5EF4-FFF2-40B4-BE49-F238E27FC236}">
                <a16:creationId xmlns:a16="http://schemas.microsoft.com/office/drawing/2014/main" id="{EF33781D-C6EB-6446-9C85-FB2000012C60}"/>
              </a:ext>
            </a:extLst>
          </p:cNvPr>
          <p:cNvSpPr>
            <a:spLocks noGrp="1"/>
          </p:cNvSpPr>
          <p:nvPr>
            <p:ph type="body" sz="quarter" idx="22"/>
          </p:nvPr>
        </p:nvSpPr>
        <p:spPr/>
        <p:txBody>
          <a:bodyPr/>
          <a:lstStyle/>
          <a:p>
            <a:r>
              <a:rPr lang="en-US" dirty="0"/>
              <a:t>Soziale Verantwortung und Transparenz</a:t>
            </a:r>
          </a:p>
        </p:txBody>
      </p:sp>
      <p:sp>
        <p:nvSpPr>
          <p:cNvPr id="19" name="Text Placeholder 18">
            <a:extLst>
              <a:ext uri="{FF2B5EF4-FFF2-40B4-BE49-F238E27FC236}">
                <a16:creationId xmlns:a16="http://schemas.microsoft.com/office/drawing/2014/main" id="{84367E26-76EA-4E40-9D99-7C3977776A6D}"/>
              </a:ext>
            </a:extLst>
          </p:cNvPr>
          <p:cNvSpPr>
            <a:spLocks noGrp="1"/>
          </p:cNvSpPr>
          <p:nvPr>
            <p:ph type="body" sz="quarter" idx="51"/>
          </p:nvPr>
        </p:nvSpPr>
        <p:spPr/>
        <p:txBody>
          <a:bodyPr/>
          <a:lstStyle/>
          <a:p>
            <a:r>
              <a:rPr lang="en-US" dirty="0"/>
              <a:t>06</a:t>
            </a:r>
          </a:p>
        </p:txBody>
      </p:sp>
      <p:sp>
        <p:nvSpPr>
          <p:cNvPr id="20" name="Text Placeholder 19">
            <a:extLst>
              <a:ext uri="{FF2B5EF4-FFF2-40B4-BE49-F238E27FC236}">
                <a16:creationId xmlns:a16="http://schemas.microsoft.com/office/drawing/2014/main" id="{E794E5C9-0EA8-BF47-A0AF-E0B7D9858292}"/>
              </a:ext>
            </a:extLst>
          </p:cNvPr>
          <p:cNvSpPr>
            <a:spLocks noGrp="1"/>
          </p:cNvSpPr>
          <p:nvPr>
            <p:ph type="body" sz="quarter" idx="52"/>
          </p:nvPr>
        </p:nvSpPr>
        <p:spPr/>
        <p:txBody>
          <a:bodyPr/>
          <a:lstStyle/>
          <a:p>
            <a:r>
              <a:rPr lang="en-US" dirty="0"/>
              <a:t>Langfristiges Denken</a:t>
            </a:r>
          </a:p>
        </p:txBody>
      </p:sp>
      <p:sp>
        <p:nvSpPr>
          <p:cNvPr id="23" name="Text Placeholder 22">
            <a:extLst>
              <a:ext uri="{FF2B5EF4-FFF2-40B4-BE49-F238E27FC236}">
                <a16:creationId xmlns:a16="http://schemas.microsoft.com/office/drawing/2014/main" id="{2A918B5F-90D1-504A-8107-BD0E2D1B59B1}"/>
              </a:ext>
            </a:extLst>
          </p:cNvPr>
          <p:cNvSpPr>
            <a:spLocks noGrp="1"/>
          </p:cNvSpPr>
          <p:nvPr>
            <p:ph type="body" sz="quarter" idx="61"/>
          </p:nvPr>
        </p:nvSpPr>
        <p:spPr/>
        <p:txBody>
          <a:bodyPr/>
          <a:lstStyle/>
          <a:p>
            <a:r>
              <a:rPr lang="en-US" dirty="0"/>
              <a:t>INHALTSVERZEICHNIS</a:t>
            </a:r>
          </a:p>
        </p:txBody>
      </p:sp>
    </p:spTree>
    <p:extLst>
      <p:ext uri="{BB962C8B-B14F-4D97-AF65-F5344CB8AC3E}">
        <p14:creationId xmlns:p14="http://schemas.microsoft.com/office/powerpoint/2010/main" val="4010686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D646549-147C-E51F-74D5-3178C47ED1D6}"/>
              </a:ext>
            </a:extLst>
          </p:cNvPr>
          <p:cNvSpPr>
            <a:spLocks noGrp="1"/>
          </p:cNvSpPr>
          <p:nvPr>
            <p:ph type="body" sz="quarter" idx="30"/>
          </p:nvPr>
        </p:nvSpPr>
        <p:spPr>
          <a:xfrm>
            <a:off x="5180845" y="407386"/>
            <a:ext cx="6110631" cy="845139"/>
          </a:xfrm>
        </p:spPr>
        <p:txBody>
          <a:bodyPr/>
          <a:lstStyle/>
          <a:p>
            <a:r>
              <a:rPr lang="en-US" dirty="0"/>
              <a:t>Ethische Grundsätze in der Wirtschaft</a:t>
            </a:r>
          </a:p>
          <a:p>
            <a:endParaRPr lang="en-IE" dirty="0"/>
          </a:p>
        </p:txBody>
      </p:sp>
      <p:sp>
        <p:nvSpPr>
          <p:cNvPr id="4" name="Text Placeholder 3">
            <a:extLst>
              <a:ext uri="{FF2B5EF4-FFF2-40B4-BE49-F238E27FC236}">
                <a16:creationId xmlns:a16="http://schemas.microsoft.com/office/drawing/2014/main" id="{AAFCA207-FDBA-1A07-E9BF-BA039C8AD022}"/>
              </a:ext>
            </a:extLst>
          </p:cNvPr>
          <p:cNvSpPr>
            <a:spLocks noGrp="1"/>
          </p:cNvSpPr>
          <p:nvPr>
            <p:ph type="body" sz="quarter" idx="48"/>
          </p:nvPr>
        </p:nvSpPr>
        <p:spPr>
          <a:xfrm>
            <a:off x="5180845" y="1675095"/>
            <a:ext cx="6286311" cy="4775519"/>
          </a:xfrm>
        </p:spPr>
        <p:txBody>
          <a:bodyPr/>
          <a:lstStyle/>
          <a:p>
            <a:pPr algn="just">
              <a:spcAft>
                <a:spcPts val="600"/>
              </a:spcAft>
            </a:pPr>
            <a:r>
              <a:rPr lang="en-GB" sz="2400" dirty="0"/>
              <a:t>Ethische Grundsätze bilden den Leitrahmen für den moralischen Kompass von Unternehmen und beeinflussen ihre Entscheidungen, ihr Verhalten und ihre Beziehungen zu den Stakeholdern. </a:t>
            </a:r>
          </a:p>
          <a:p>
            <a:pPr algn="just">
              <a:spcAft>
                <a:spcPts val="600"/>
              </a:spcAft>
            </a:pPr>
            <a:r>
              <a:rPr lang="en-GB" sz="2400" b="1" dirty="0"/>
              <a:t>In der heutigen dynamischen Geschäftswelt, in der Transparenz, Nachhaltigkeit und soziale Verantwortung zunehmend geschätzt werden, sind das Verständnis und die Umsetzung ethischer Grundsätze entscheidend für die Schaffung von Vertrauen, die Aufrechterhaltung des guten Rufs und den langfristigen Erfolg.</a:t>
            </a:r>
            <a:endParaRPr lang="en-US" sz="2400" b="1" dirty="0"/>
          </a:p>
          <a:p>
            <a:pPr>
              <a:spcAft>
                <a:spcPts val="600"/>
              </a:spcAft>
            </a:pPr>
            <a:endParaRPr lang="en-IE" sz="2400" dirty="0"/>
          </a:p>
        </p:txBody>
      </p:sp>
      <p:pic>
        <p:nvPicPr>
          <p:cNvPr id="2" name="Picture Placeholder 5" descr="3D five star rating symbol">
            <a:extLst>
              <a:ext uri="{FF2B5EF4-FFF2-40B4-BE49-F238E27FC236}">
                <a16:creationId xmlns:a16="http://schemas.microsoft.com/office/drawing/2014/main" id="{C8E28B95-FEFB-04F5-58D6-195BE0707001}"/>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7572" r="27572"/>
          <a:stretch/>
        </p:blipFill>
        <p:spPr>
          <a:xfrm>
            <a:off x="0" y="0"/>
            <a:ext cx="4614863" cy="6858000"/>
          </a:xfrm>
        </p:spPr>
      </p:pic>
    </p:spTree>
    <p:extLst>
      <p:ext uri="{BB962C8B-B14F-4D97-AF65-F5344CB8AC3E}">
        <p14:creationId xmlns:p14="http://schemas.microsoft.com/office/powerpoint/2010/main" val="41161075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207C40-8051-6C6C-3ABB-E8637C400034}"/>
              </a:ext>
            </a:extLst>
          </p:cNvPr>
          <p:cNvSpPr>
            <a:spLocks noGrp="1"/>
          </p:cNvSpPr>
          <p:nvPr>
            <p:ph type="body" sz="quarter" idx="30"/>
          </p:nvPr>
        </p:nvSpPr>
        <p:spPr>
          <a:xfrm>
            <a:off x="5268686" y="407386"/>
            <a:ext cx="6110631" cy="845139"/>
          </a:xfrm>
        </p:spPr>
        <p:txBody>
          <a:bodyPr/>
          <a:lstStyle/>
          <a:p>
            <a:r>
              <a:rPr lang="en-US" dirty="0"/>
              <a:t>Integrität</a:t>
            </a:r>
          </a:p>
          <a:p>
            <a:endParaRPr lang="en-IE" dirty="0"/>
          </a:p>
        </p:txBody>
      </p:sp>
      <p:sp>
        <p:nvSpPr>
          <p:cNvPr id="4" name="Text Placeholder 3">
            <a:extLst>
              <a:ext uri="{FF2B5EF4-FFF2-40B4-BE49-F238E27FC236}">
                <a16:creationId xmlns:a16="http://schemas.microsoft.com/office/drawing/2014/main" id="{4BFFEE22-131D-F7E1-221F-FC4002B0501A}"/>
              </a:ext>
            </a:extLst>
          </p:cNvPr>
          <p:cNvSpPr>
            <a:spLocks noGrp="1"/>
          </p:cNvSpPr>
          <p:nvPr>
            <p:ph type="body" sz="quarter" idx="48"/>
          </p:nvPr>
        </p:nvSpPr>
        <p:spPr>
          <a:xfrm>
            <a:off x="5256505" y="1252525"/>
            <a:ext cx="6345687" cy="3466570"/>
          </a:xfrm>
        </p:spPr>
        <p:txBody>
          <a:bodyPr/>
          <a:lstStyle/>
          <a:p>
            <a:pPr algn="just">
              <a:spcAft>
                <a:spcPts val="600"/>
              </a:spcAft>
            </a:pPr>
            <a:r>
              <a:rPr lang="en-GB" sz="2000" dirty="0"/>
              <a:t>Integrität bildet die Grundlage für ethisches Verhalten und umfasst </a:t>
            </a:r>
            <a:r>
              <a:rPr lang="en-GB" sz="2000" b="1" dirty="0"/>
              <a:t>unerschütterliche Ehrlichkeit, Transparenz und Konsistenz </a:t>
            </a:r>
            <a:r>
              <a:rPr lang="en-GB" sz="2000" dirty="0"/>
              <a:t>bei allen Interaktionen und Entscheidungen innerhalb einer Organisation. </a:t>
            </a:r>
          </a:p>
          <a:p>
            <a:pPr algn="just">
              <a:spcAft>
                <a:spcPts val="600"/>
              </a:spcAft>
            </a:pPr>
            <a:r>
              <a:rPr lang="en-GB" sz="2000" dirty="0"/>
              <a:t>Indem sie sich auf Integrität konzentrieren, halten die Unternehmen nicht nur rechtliche und regulatorische Standards ein, sondern </a:t>
            </a:r>
            <a:r>
              <a:rPr lang="en-GB" sz="2000" b="1" dirty="0"/>
              <a:t>kultivieren </a:t>
            </a:r>
            <a:r>
              <a:rPr lang="en-GB" sz="2000" dirty="0"/>
              <a:t>auch </a:t>
            </a:r>
            <a:r>
              <a:rPr lang="en-GB" sz="2000" b="1" dirty="0"/>
              <a:t>eine Kultur des Vertrauens und der Zuverlässigkeit </a:t>
            </a:r>
            <a:r>
              <a:rPr lang="en-GB" sz="2000" dirty="0"/>
              <a:t>unter den Beteiligten. </a:t>
            </a:r>
          </a:p>
          <a:p>
            <a:pPr algn="just">
              <a:spcAft>
                <a:spcPts val="600"/>
              </a:spcAft>
            </a:pPr>
            <a:r>
              <a:rPr lang="en-GB" sz="2000" dirty="0"/>
              <a:t>Dieses Vertrauen ist von grundlegender Bedeutung für die Aufrechterhaltung langfristiger Beziehungen zu Kunden, Investoren, Mitarbeitern und der breiteren Öffentlichkeit und untermauert den Ruf und die Glaubwürdigkeit der Organisation.</a:t>
            </a:r>
            <a:endParaRPr lang="en-US" sz="2000" dirty="0"/>
          </a:p>
          <a:p>
            <a:pPr>
              <a:spcAft>
                <a:spcPts val="600"/>
              </a:spcAft>
            </a:pPr>
            <a:endParaRPr lang="en-IE" sz="2000" dirty="0"/>
          </a:p>
        </p:txBody>
      </p:sp>
      <p:pic>
        <p:nvPicPr>
          <p:cNvPr id="2" name="Picture Placeholder 5" descr="One orange paper boat leading a group of white paper boats">
            <a:extLst>
              <a:ext uri="{FF2B5EF4-FFF2-40B4-BE49-F238E27FC236}">
                <a16:creationId xmlns:a16="http://schemas.microsoft.com/office/drawing/2014/main" id="{3A7333EF-2E2B-D5F5-669F-302FEDDA8881}"/>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7558" r="27558"/>
          <a:stretch>
            <a:fillRect/>
          </a:stretch>
        </p:blipFill>
        <p:spPr>
          <a:xfrm>
            <a:off x="0" y="0"/>
            <a:ext cx="4614863" cy="6858000"/>
          </a:xfrm>
        </p:spPr>
      </p:pic>
    </p:spTree>
    <p:extLst>
      <p:ext uri="{BB962C8B-B14F-4D97-AF65-F5344CB8AC3E}">
        <p14:creationId xmlns:p14="http://schemas.microsoft.com/office/powerpoint/2010/main" val="1530017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117EA72-FCF7-23AE-18A9-A9A4759A59DF}"/>
              </a:ext>
            </a:extLst>
          </p:cNvPr>
          <p:cNvSpPr>
            <a:spLocks noGrp="1"/>
          </p:cNvSpPr>
          <p:nvPr>
            <p:ph type="body" sz="quarter" idx="30"/>
          </p:nvPr>
        </p:nvSpPr>
        <p:spPr>
          <a:xfrm>
            <a:off x="5268686" y="570686"/>
            <a:ext cx="6110631" cy="845139"/>
          </a:xfrm>
        </p:spPr>
        <p:txBody>
          <a:bodyPr/>
          <a:lstStyle/>
          <a:p>
            <a:r>
              <a:rPr lang="en-US" dirty="0"/>
              <a:t>Transparenz</a:t>
            </a:r>
          </a:p>
          <a:p>
            <a:endParaRPr lang="en-IE" dirty="0"/>
          </a:p>
        </p:txBody>
      </p:sp>
      <p:sp>
        <p:nvSpPr>
          <p:cNvPr id="4" name="Text Placeholder 3">
            <a:extLst>
              <a:ext uri="{FF2B5EF4-FFF2-40B4-BE49-F238E27FC236}">
                <a16:creationId xmlns:a16="http://schemas.microsoft.com/office/drawing/2014/main" id="{FA057CAC-2D93-1F6F-B7A0-9D567AD98469}"/>
              </a:ext>
            </a:extLst>
          </p:cNvPr>
          <p:cNvSpPr>
            <a:spLocks noGrp="1"/>
          </p:cNvSpPr>
          <p:nvPr>
            <p:ph type="body" sz="quarter" idx="48"/>
          </p:nvPr>
        </p:nvSpPr>
        <p:spPr>
          <a:xfrm>
            <a:off x="5268686" y="1415825"/>
            <a:ext cx="6321631" cy="3466570"/>
          </a:xfrm>
        </p:spPr>
        <p:txBody>
          <a:bodyPr/>
          <a:lstStyle/>
          <a:p>
            <a:pPr algn="just">
              <a:spcAft>
                <a:spcPts val="600"/>
              </a:spcAft>
            </a:pPr>
            <a:r>
              <a:rPr lang="en-GB" sz="2000" dirty="0"/>
              <a:t>Transparenz ist eine wesentliche Voraussetzung für die Schaffung von </a:t>
            </a:r>
            <a:r>
              <a:rPr lang="en-GB" sz="2000" b="1" dirty="0"/>
              <a:t>Offenheit und Klarheit im Geschäftsbetrieb</a:t>
            </a:r>
            <a:r>
              <a:rPr lang="en-GB" sz="2000" dirty="0"/>
              <a:t>. Transparente Praktiken beinhalten die offene Kommunikation von Strategien, Entscheidungen und Leistungskennzahlen an die Beteiligten. </a:t>
            </a:r>
          </a:p>
          <a:p>
            <a:pPr algn="just">
              <a:spcAft>
                <a:spcPts val="600"/>
              </a:spcAft>
            </a:pPr>
            <a:r>
              <a:rPr lang="en-GB" sz="2000" dirty="0"/>
              <a:t>Diese Transparenz </a:t>
            </a:r>
            <a:r>
              <a:rPr lang="en-GB" sz="2000" b="1" dirty="0"/>
              <a:t>fördert die Rechenschaftspflicht </a:t>
            </a:r>
            <a:r>
              <a:rPr lang="en-GB" sz="2000" dirty="0"/>
              <a:t>und ermöglicht es den Beteiligten, fundierte Entscheidungen auf der Grundlage zuverlässiger Informationen zu treffen. </a:t>
            </a:r>
          </a:p>
          <a:p>
            <a:pPr algn="just">
              <a:spcAft>
                <a:spcPts val="600"/>
              </a:spcAft>
            </a:pPr>
            <a:r>
              <a:rPr lang="en-GB" sz="2000" dirty="0"/>
              <a:t>Unternehmen, die sich für Transparenz einsetzen, verpflichten sich zu ethischem Verhalten und guter Unternehmensführung und stärken so das Vertrauen und die Glaubwürdigkeit in ihre Tätigkeit.</a:t>
            </a:r>
          </a:p>
          <a:p>
            <a:pPr>
              <a:spcAft>
                <a:spcPts val="600"/>
              </a:spcAft>
            </a:pPr>
            <a:endParaRPr lang="en-IE" sz="2000" dirty="0"/>
          </a:p>
        </p:txBody>
      </p:sp>
      <p:pic>
        <p:nvPicPr>
          <p:cNvPr id="2" name="Picture Placeholder 5" descr="Magnifying glass on clear background">
            <a:extLst>
              <a:ext uri="{FF2B5EF4-FFF2-40B4-BE49-F238E27FC236}">
                <a16:creationId xmlns:a16="http://schemas.microsoft.com/office/drawing/2014/main" id="{1452A778-8DE3-A098-7F87-BE6EE6C78B84}"/>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7542" r="27542"/>
          <a:stretch/>
        </p:blipFill>
        <p:spPr>
          <a:xfrm>
            <a:off x="0" y="0"/>
            <a:ext cx="4614863" cy="6858000"/>
          </a:xfrm>
        </p:spPr>
      </p:pic>
    </p:spTree>
    <p:extLst>
      <p:ext uri="{BB962C8B-B14F-4D97-AF65-F5344CB8AC3E}">
        <p14:creationId xmlns:p14="http://schemas.microsoft.com/office/powerpoint/2010/main" val="23003328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C52232-624B-A446-74CA-523FB737D64D}"/>
              </a:ext>
            </a:extLst>
          </p:cNvPr>
          <p:cNvSpPr>
            <a:spLocks noGrp="1"/>
          </p:cNvSpPr>
          <p:nvPr>
            <p:ph type="body" sz="quarter" idx="30"/>
          </p:nvPr>
        </p:nvSpPr>
        <p:spPr>
          <a:xfrm>
            <a:off x="5268686" y="428182"/>
            <a:ext cx="6110631" cy="845139"/>
          </a:xfrm>
        </p:spPr>
        <p:txBody>
          <a:bodyPr/>
          <a:lstStyle/>
          <a:p>
            <a:r>
              <a:rPr lang="en-US" dirty="0"/>
              <a:t>Fairness</a:t>
            </a:r>
          </a:p>
          <a:p>
            <a:endParaRPr lang="en-IE" dirty="0"/>
          </a:p>
        </p:txBody>
      </p:sp>
      <p:sp>
        <p:nvSpPr>
          <p:cNvPr id="4" name="Text Placeholder 3">
            <a:extLst>
              <a:ext uri="{FF2B5EF4-FFF2-40B4-BE49-F238E27FC236}">
                <a16:creationId xmlns:a16="http://schemas.microsoft.com/office/drawing/2014/main" id="{CBDC8A33-3DF1-894D-E83F-ADD690CC22BB}"/>
              </a:ext>
            </a:extLst>
          </p:cNvPr>
          <p:cNvSpPr>
            <a:spLocks noGrp="1"/>
          </p:cNvSpPr>
          <p:nvPr>
            <p:ph type="body" sz="quarter" idx="48"/>
          </p:nvPr>
        </p:nvSpPr>
        <p:spPr>
          <a:xfrm>
            <a:off x="5256505" y="1575822"/>
            <a:ext cx="6333812" cy="3466570"/>
          </a:xfrm>
        </p:spPr>
        <p:txBody>
          <a:bodyPr/>
          <a:lstStyle/>
          <a:p>
            <a:pPr algn="just">
              <a:spcAft>
                <a:spcPts val="600"/>
              </a:spcAft>
            </a:pPr>
            <a:r>
              <a:rPr lang="en-GB" sz="2400" dirty="0"/>
              <a:t>Fairness gewährleistet eine </a:t>
            </a:r>
            <a:r>
              <a:rPr lang="en-GB" sz="2400" b="1" dirty="0"/>
              <a:t>gerechte Behandlung </a:t>
            </a:r>
            <a:r>
              <a:rPr lang="en-GB" sz="2400" dirty="0"/>
              <a:t>aller Beteiligten, unabhängig von ihrer Position oder ihrem Einfluss. </a:t>
            </a:r>
          </a:p>
          <a:p>
            <a:pPr algn="just">
              <a:spcAft>
                <a:spcPts val="600"/>
              </a:spcAft>
            </a:pPr>
            <a:r>
              <a:rPr lang="en-GB" sz="2400" dirty="0"/>
              <a:t>Faire Geschäftspraktiken </a:t>
            </a:r>
            <a:r>
              <a:rPr lang="en-GB" sz="2400" b="1" dirty="0"/>
              <a:t>fördern Gerechtigkeit und Gleichheit, </a:t>
            </a:r>
            <a:r>
              <a:rPr lang="en-GB" sz="2400" dirty="0"/>
              <a:t>die für die Schaffung einer positiven Unternehmenskultur von entscheidender Bedeutung sind. </a:t>
            </a:r>
          </a:p>
          <a:p>
            <a:pPr algn="just">
              <a:spcAft>
                <a:spcPts val="600"/>
              </a:spcAft>
            </a:pPr>
            <a:r>
              <a:rPr lang="en-GB" sz="2400" dirty="0"/>
              <a:t>Eine faire Behandlung stärkt die Beziehungen zu Mitarbeitern, Lieferanten, Kunden und der breiteren Öffentlichkeit und unterstreicht das Engagement des Unternehmens für ethische Werte und gesellschaftliche Erwartungen.</a:t>
            </a:r>
          </a:p>
          <a:p>
            <a:pPr>
              <a:spcAft>
                <a:spcPts val="600"/>
              </a:spcAft>
            </a:pPr>
            <a:endParaRPr lang="en-IE" sz="2400" dirty="0"/>
          </a:p>
        </p:txBody>
      </p:sp>
      <p:pic>
        <p:nvPicPr>
          <p:cNvPr id="2" name="Picture Placeholder 5" descr="Yellow mug with smiley face">
            <a:extLst>
              <a:ext uri="{FF2B5EF4-FFF2-40B4-BE49-F238E27FC236}">
                <a16:creationId xmlns:a16="http://schemas.microsoft.com/office/drawing/2014/main" id="{BFAEF96F-85A1-2FBA-8669-62E010CC00FF}"/>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7569" r="27569"/>
          <a:stretch/>
        </p:blipFill>
        <p:spPr>
          <a:xfrm>
            <a:off x="0" y="0"/>
            <a:ext cx="4614863" cy="6858000"/>
          </a:xfrm>
        </p:spPr>
      </p:pic>
    </p:spTree>
    <p:extLst>
      <p:ext uri="{BB962C8B-B14F-4D97-AF65-F5344CB8AC3E}">
        <p14:creationId xmlns:p14="http://schemas.microsoft.com/office/powerpoint/2010/main" val="4263637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14515C5-FD46-5869-C712-B168B3F1634E}"/>
              </a:ext>
            </a:extLst>
          </p:cNvPr>
          <p:cNvSpPr>
            <a:spLocks noGrp="1"/>
          </p:cNvSpPr>
          <p:nvPr>
            <p:ph type="body" sz="quarter" idx="30"/>
          </p:nvPr>
        </p:nvSpPr>
        <p:spPr>
          <a:xfrm>
            <a:off x="5268686" y="368805"/>
            <a:ext cx="6110631" cy="845139"/>
          </a:xfrm>
        </p:spPr>
        <p:txBody>
          <a:bodyPr/>
          <a:lstStyle/>
          <a:p>
            <a:r>
              <a:rPr lang="en-US" dirty="0"/>
              <a:t>Rechenschaftspflicht</a:t>
            </a:r>
          </a:p>
          <a:p>
            <a:endParaRPr lang="en-IE" dirty="0"/>
          </a:p>
        </p:txBody>
      </p:sp>
      <p:sp>
        <p:nvSpPr>
          <p:cNvPr id="4" name="Text Placeholder 3">
            <a:extLst>
              <a:ext uri="{FF2B5EF4-FFF2-40B4-BE49-F238E27FC236}">
                <a16:creationId xmlns:a16="http://schemas.microsoft.com/office/drawing/2014/main" id="{E2A9C83D-C507-2972-0450-FE55F230E306}"/>
              </a:ext>
            </a:extLst>
          </p:cNvPr>
          <p:cNvSpPr>
            <a:spLocks noGrp="1"/>
          </p:cNvSpPr>
          <p:nvPr>
            <p:ph type="body" sz="quarter" idx="48"/>
          </p:nvPr>
        </p:nvSpPr>
        <p:spPr>
          <a:xfrm>
            <a:off x="5268686" y="1213944"/>
            <a:ext cx="6345382" cy="3466570"/>
          </a:xfrm>
        </p:spPr>
        <p:txBody>
          <a:bodyPr/>
          <a:lstStyle/>
          <a:p>
            <a:pPr algn="just">
              <a:spcAft>
                <a:spcPts val="600"/>
              </a:spcAft>
            </a:pPr>
            <a:r>
              <a:rPr lang="en-GB" sz="2400" dirty="0"/>
              <a:t>Rechenschaftspflicht bedeutet, </a:t>
            </a:r>
            <a:r>
              <a:rPr lang="en-GB" sz="2400" b="1" dirty="0"/>
              <a:t>die Verantwortung für Handlungen, Entscheidungen und deren Folgen zu übernehmen</a:t>
            </a:r>
            <a:r>
              <a:rPr lang="en-GB" sz="2400" dirty="0"/>
              <a:t>. Ethische Rechenschaftspflicht verlangt von Organisationen, dass sie Fehler zugeben, sie korrigieren und umgehend Abhilfemaßnahmen ergreifen.</a:t>
            </a:r>
          </a:p>
          <a:p>
            <a:pPr algn="just">
              <a:spcAft>
                <a:spcPts val="600"/>
              </a:spcAft>
            </a:pPr>
            <a:r>
              <a:rPr lang="en-GB" sz="2400" dirty="0"/>
              <a:t>Die Einrichtung solider Mechanismen für die Rechenschaftspflicht, wie z. B. ethische Audits und Berichtsverfahren, stärkt ethisches Verhalten und Governance. </a:t>
            </a:r>
          </a:p>
          <a:p>
            <a:pPr algn="just">
              <a:spcAft>
                <a:spcPts val="600"/>
              </a:spcAft>
            </a:pPr>
            <a:r>
              <a:rPr lang="en-GB" sz="2400" dirty="0"/>
              <a:t>Rechenschaftspflicht schafft Vertrauen bei den Beteiligten und zeigt, dass sich die Organisation zu ethischen Standards und kontinuierlicher Verbesserung verpflichtet.</a:t>
            </a:r>
          </a:p>
          <a:p>
            <a:pPr>
              <a:spcAft>
                <a:spcPts val="600"/>
              </a:spcAft>
            </a:pPr>
            <a:endParaRPr lang="en-IE" sz="2400" dirty="0"/>
          </a:p>
        </p:txBody>
      </p:sp>
      <p:pic>
        <p:nvPicPr>
          <p:cNvPr id="2" name="Picture Placeholder 5" descr="Young girl lifting up earth">
            <a:extLst>
              <a:ext uri="{FF2B5EF4-FFF2-40B4-BE49-F238E27FC236}">
                <a16:creationId xmlns:a16="http://schemas.microsoft.com/office/drawing/2014/main" id="{31A5CDF8-4C7E-639B-83CC-18B8719A2300}"/>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7643" r="27643"/>
          <a:stretch/>
        </p:blipFill>
        <p:spPr>
          <a:xfrm>
            <a:off x="0" y="0"/>
            <a:ext cx="4614863" cy="6858000"/>
          </a:xfrm>
        </p:spPr>
      </p:pic>
    </p:spTree>
    <p:extLst>
      <p:ext uri="{BB962C8B-B14F-4D97-AF65-F5344CB8AC3E}">
        <p14:creationId xmlns:p14="http://schemas.microsoft.com/office/powerpoint/2010/main" val="1415110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066FBD-3576-5CFA-87B6-D1077F6AA6F8}"/>
              </a:ext>
            </a:extLst>
          </p:cNvPr>
          <p:cNvSpPr>
            <a:spLocks noGrp="1"/>
          </p:cNvSpPr>
          <p:nvPr>
            <p:ph type="body" sz="quarter" idx="30"/>
          </p:nvPr>
        </p:nvSpPr>
        <p:spPr>
          <a:xfrm>
            <a:off x="854281" y="565150"/>
            <a:ext cx="9762260" cy="804265"/>
          </a:xfrm>
        </p:spPr>
        <p:txBody>
          <a:bodyPr/>
          <a:lstStyle/>
          <a:p>
            <a:r>
              <a:rPr lang="en-GB" sz="3600" b="1" dirty="0"/>
              <a:t>Aneignung der Fähigkeit, ethische Geschäftspraktiken zu bewerten und umzusetzen.</a:t>
            </a:r>
            <a:endParaRPr lang="en-GB" sz="3600" dirty="0"/>
          </a:p>
          <a:p>
            <a:endParaRPr lang="en-IE" dirty="0"/>
          </a:p>
        </p:txBody>
      </p:sp>
      <p:sp>
        <p:nvSpPr>
          <p:cNvPr id="3" name="Text Placeholder 2">
            <a:extLst>
              <a:ext uri="{FF2B5EF4-FFF2-40B4-BE49-F238E27FC236}">
                <a16:creationId xmlns:a16="http://schemas.microsoft.com/office/drawing/2014/main" id="{F95A7C72-2C9E-7750-AE07-9EE4DE4A1D8C}"/>
              </a:ext>
            </a:extLst>
          </p:cNvPr>
          <p:cNvSpPr>
            <a:spLocks noGrp="1"/>
          </p:cNvSpPr>
          <p:nvPr>
            <p:ph type="body" sz="quarter" idx="48"/>
          </p:nvPr>
        </p:nvSpPr>
        <p:spPr>
          <a:xfrm>
            <a:off x="854280" y="1853273"/>
            <a:ext cx="10483429" cy="4439577"/>
          </a:xfrm>
        </p:spPr>
        <p:txBody>
          <a:bodyPr/>
          <a:lstStyle/>
          <a:p>
            <a:pPr algn="just">
              <a:spcAft>
                <a:spcPts val="600"/>
              </a:spcAft>
            </a:pPr>
            <a:r>
              <a:rPr lang="en-GB" sz="2000" b="1" dirty="0"/>
              <a:t>Ethische Dilemmas bewerten:</a:t>
            </a:r>
            <a:r>
              <a:rPr lang="en-GB" sz="2000" dirty="0"/>
              <a:t> Entwickeln Sie die Fähigkeit, ethische Herausforderungen in verschiedenen Geschäftskontexten zu erkennen und zu analysieren. Berücksichtigen Sie mehrere Perspektiven und bewerten Sie mögliche Auswirkungen auf die Stakeholder, um fundierte, ethische Entscheidungen zu treffen.</a:t>
            </a:r>
          </a:p>
          <a:p>
            <a:pPr algn="just">
              <a:spcAft>
                <a:spcPts val="600"/>
              </a:spcAft>
            </a:pPr>
            <a:r>
              <a:rPr lang="en-GB" sz="2000" b="1" dirty="0"/>
              <a:t>Ethische Rahmenwerke anwenden: </a:t>
            </a:r>
            <a:r>
              <a:rPr lang="en-GB" sz="2000" dirty="0"/>
              <a:t>Erforschen und Anwenden ethischer Rahmenwerke wie </a:t>
            </a:r>
            <a:r>
              <a:rPr lang="en-GB" sz="2000" dirty="0">
                <a:hlinkClick r:id="rId2"/>
              </a:rPr>
              <a:t>Utilitarismus</a:t>
            </a:r>
            <a:r>
              <a:rPr lang="en-GB" sz="2000" dirty="0"/>
              <a:t>, </a:t>
            </a:r>
            <a:r>
              <a:rPr lang="en-GB" sz="2000" dirty="0">
                <a:hlinkClick r:id="rId3"/>
              </a:rPr>
              <a:t>Deontologie </a:t>
            </a:r>
            <a:r>
              <a:rPr lang="en-GB" sz="2000" dirty="0"/>
              <a:t>und </a:t>
            </a:r>
            <a:r>
              <a:rPr lang="en-GB" sz="2000" dirty="0">
                <a:hlinkClick r:id="rId4"/>
              </a:rPr>
              <a:t>Tugendethik</a:t>
            </a:r>
            <a:r>
              <a:rPr lang="en-GB" sz="2000" dirty="0"/>
              <a:t>. Diese Rahmenwerke bieten strukturierte Ansätze, um ethische Überlegungen zu fördern und die Entscheidungsfindung in schwierigen Situationen zu unterstützen.</a:t>
            </a:r>
          </a:p>
          <a:p>
            <a:pPr algn="just">
              <a:spcAft>
                <a:spcPts val="600"/>
              </a:spcAft>
            </a:pPr>
            <a:r>
              <a:rPr lang="en-GB" sz="2000" b="1" dirty="0"/>
              <a:t>Ethische Praktiken umsetzen:</a:t>
            </a:r>
            <a:r>
              <a:rPr lang="en-GB" sz="2000" dirty="0"/>
              <a:t> Umsetzung ethischer Grundsätze in umsetzbare Praktiken innerhalb der Unternehmensrichtlinien und -verfahren. Entwickeln Sie umfassende Verhaltenskodizes, Whistleblower-Richtlinien und solide ethische Schulungsprogramme, um ethisches Verhalten effektiv in die Unternehmenskultur einzubetten.</a:t>
            </a:r>
          </a:p>
          <a:p>
            <a:pPr algn="just">
              <a:spcAft>
                <a:spcPts val="600"/>
              </a:spcAft>
            </a:pPr>
            <a:endParaRPr lang="en-IE" sz="2000" dirty="0"/>
          </a:p>
        </p:txBody>
      </p:sp>
      <p:grpSp>
        <p:nvGrpSpPr>
          <p:cNvPr id="4" name="Group 3">
            <a:extLst>
              <a:ext uri="{FF2B5EF4-FFF2-40B4-BE49-F238E27FC236}">
                <a16:creationId xmlns:a16="http://schemas.microsoft.com/office/drawing/2014/main" id="{7D9B9C39-21A0-86D3-E38A-1463D4FFA82F}"/>
              </a:ext>
            </a:extLst>
          </p:cNvPr>
          <p:cNvGrpSpPr/>
          <p:nvPr/>
        </p:nvGrpSpPr>
        <p:grpSpPr>
          <a:xfrm>
            <a:off x="10398100" y="776435"/>
            <a:ext cx="962616" cy="834909"/>
            <a:chOff x="-4712685" y="3328877"/>
            <a:chExt cx="3646852" cy="3163039"/>
          </a:xfrm>
          <a:solidFill>
            <a:srgbClr val="0F486D"/>
          </a:solidFill>
        </p:grpSpPr>
        <p:sp>
          <p:nvSpPr>
            <p:cNvPr id="5" name="Freeform 4">
              <a:extLst>
                <a:ext uri="{FF2B5EF4-FFF2-40B4-BE49-F238E27FC236}">
                  <a16:creationId xmlns:a16="http://schemas.microsoft.com/office/drawing/2014/main" id="{95204641-4F25-ED68-A582-33BD19B676B5}"/>
                </a:ext>
              </a:extLst>
            </p:cNvPr>
            <p:cNvSpPr/>
            <p:nvPr/>
          </p:nvSpPr>
          <p:spPr>
            <a:xfrm>
              <a:off x="-2751053" y="3630243"/>
              <a:ext cx="1336624" cy="1338322"/>
            </a:xfrm>
            <a:custGeom>
              <a:avLst/>
              <a:gdLst>
                <a:gd name="connsiteX0" fmla="*/ 1238337 w 1336624"/>
                <a:gd name="connsiteY0" fmla="*/ 313636 h 1338322"/>
                <a:gd name="connsiteX1" fmla="*/ 1233578 w 1336624"/>
                <a:gd name="connsiteY1" fmla="*/ 332675 h 1338322"/>
                <a:gd name="connsiteX2" fmla="*/ 1304959 w 1336624"/>
                <a:gd name="connsiteY2" fmla="*/ 506885 h 1338322"/>
                <a:gd name="connsiteX3" fmla="*/ 1318283 w 1336624"/>
                <a:gd name="connsiteY3" fmla="*/ 576379 h 1338322"/>
                <a:gd name="connsiteX4" fmla="*/ 1318283 w 1336624"/>
                <a:gd name="connsiteY4" fmla="*/ 762012 h 1338322"/>
                <a:gd name="connsiteX5" fmla="*/ 1305911 w 1336624"/>
                <a:gd name="connsiteY5" fmla="*/ 831506 h 1338322"/>
                <a:gd name="connsiteX6" fmla="*/ 1233578 w 1336624"/>
                <a:gd name="connsiteY6" fmla="*/ 1005716 h 1338322"/>
                <a:gd name="connsiteX7" fmla="*/ 1196460 w 1336624"/>
                <a:gd name="connsiteY7" fmla="*/ 1062834 h 1338322"/>
                <a:gd name="connsiteX8" fmla="*/ 1061312 w 1336624"/>
                <a:gd name="connsiteY8" fmla="*/ 1201821 h 1338322"/>
                <a:gd name="connsiteX9" fmla="*/ 1009918 w 1336624"/>
                <a:gd name="connsiteY9" fmla="*/ 1237044 h 1338322"/>
                <a:gd name="connsiteX10" fmla="*/ 826231 w 1336624"/>
                <a:gd name="connsiteY10" fmla="*/ 1315105 h 1338322"/>
                <a:gd name="connsiteX11" fmla="*/ 767223 w 1336624"/>
                <a:gd name="connsiteY11" fmla="*/ 1326528 h 1338322"/>
                <a:gd name="connsiteX12" fmla="*/ 568308 w 1336624"/>
                <a:gd name="connsiteY12" fmla="*/ 1325576 h 1338322"/>
                <a:gd name="connsiteX13" fmla="*/ 508348 w 1336624"/>
                <a:gd name="connsiteY13" fmla="*/ 1312249 h 1338322"/>
                <a:gd name="connsiteX14" fmla="*/ 326564 w 1336624"/>
                <a:gd name="connsiteY14" fmla="*/ 1237044 h 1338322"/>
                <a:gd name="connsiteX15" fmla="*/ 274218 w 1336624"/>
                <a:gd name="connsiteY15" fmla="*/ 1202773 h 1338322"/>
                <a:gd name="connsiteX16" fmla="*/ 132408 w 1336624"/>
                <a:gd name="connsiteY16" fmla="*/ 1061882 h 1338322"/>
                <a:gd name="connsiteX17" fmla="*/ 99097 w 1336624"/>
                <a:gd name="connsiteY17" fmla="*/ 1012379 h 1338322"/>
                <a:gd name="connsiteX18" fmla="*/ 21054 w 1336624"/>
                <a:gd name="connsiteY18" fmla="*/ 825794 h 1338322"/>
                <a:gd name="connsiteX19" fmla="*/ 10585 w 1336624"/>
                <a:gd name="connsiteY19" fmla="*/ 769628 h 1338322"/>
                <a:gd name="connsiteX20" fmla="*/ 10585 w 1336624"/>
                <a:gd name="connsiteY20" fmla="*/ 567811 h 1338322"/>
                <a:gd name="connsiteX21" fmla="*/ 22957 w 1336624"/>
                <a:gd name="connsiteY21" fmla="*/ 509741 h 1338322"/>
                <a:gd name="connsiteX22" fmla="*/ 99097 w 1336624"/>
                <a:gd name="connsiteY22" fmla="*/ 325060 h 1338322"/>
                <a:gd name="connsiteX23" fmla="*/ 135263 w 1336624"/>
                <a:gd name="connsiteY23" fmla="*/ 274605 h 1338322"/>
                <a:gd name="connsiteX24" fmla="*/ 274218 w 1336624"/>
                <a:gd name="connsiteY24" fmla="*/ 138474 h 1338322"/>
                <a:gd name="connsiteX25" fmla="*/ 328468 w 1336624"/>
                <a:gd name="connsiteY25" fmla="*/ 102300 h 1338322"/>
                <a:gd name="connsiteX26" fmla="*/ 505492 w 1336624"/>
                <a:gd name="connsiteY26" fmla="*/ 28998 h 1338322"/>
                <a:gd name="connsiteX27" fmla="*/ 573066 w 1336624"/>
                <a:gd name="connsiteY27" fmla="*/ 16623 h 1338322"/>
                <a:gd name="connsiteX28" fmla="*/ 761512 w 1336624"/>
                <a:gd name="connsiteY28" fmla="*/ 16623 h 1338322"/>
                <a:gd name="connsiteX29" fmla="*/ 829086 w 1336624"/>
                <a:gd name="connsiteY29" fmla="*/ 28998 h 1338322"/>
                <a:gd name="connsiteX30" fmla="*/ 1006111 w 1336624"/>
                <a:gd name="connsiteY30" fmla="*/ 101348 h 1338322"/>
                <a:gd name="connsiteX31" fmla="*/ 1060360 w 1336624"/>
                <a:gd name="connsiteY31" fmla="*/ 137522 h 1338322"/>
                <a:gd name="connsiteX32" fmla="*/ 1199315 w 1336624"/>
                <a:gd name="connsiteY32" fmla="*/ 273654 h 1338322"/>
                <a:gd name="connsiteX33" fmla="*/ 1238337 w 1336624"/>
                <a:gd name="connsiteY33" fmla="*/ 313636 h 1338322"/>
                <a:gd name="connsiteX34" fmla="*/ 666337 w 1336624"/>
                <a:gd name="connsiteY34" fmla="*/ 1156126 h 1338322"/>
                <a:gd name="connsiteX35" fmla="*/ 1152680 w 1336624"/>
                <a:gd name="connsiteY35" fmla="*/ 673479 h 1338322"/>
                <a:gd name="connsiteX36" fmla="*/ 670145 w 1336624"/>
                <a:gd name="connsiteY36" fmla="*/ 183217 h 1338322"/>
                <a:gd name="connsiteX37" fmla="*/ 181899 w 1336624"/>
                <a:gd name="connsiteY37" fmla="*/ 667768 h 1338322"/>
                <a:gd name="connsiteX38" fmla="*/ 666337 w 1336624"/>
                <a:gd name="connsiteY38" fmla="*/ 1156126 h 13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6624" h="1338322">
                  <a:moveTo>
                    <a:pt x="1238337" y="313636"/>
                  </a:moveTo>
                  <a:cubicBezTo>
                    <a:pt x="1237385" y="318396"/>
                    <a:pt x="1235481" y="326012"/>
                    <a:pt x="1233578" y="332675"/>
                  </a:cubicBezTo>
                  <a:cubicBezTo>
                    <a:pt x="1216446" y="405025"/>
                    <a:pt x="1243096" y="467855"/>
                    <a:pt x="1304959" y="506885"/>
                  </a:cubicBezTo>
                  <a:cubicBezTo>
                    <a:pt x="1343029" y="530684"/>
                    <a:pt x="1344932" y="539252"/>
                    <a:pt x="1318283" y="576379"/>
                  </a:cubicBezTo>
                  <a:cubicBezTo>
                    <a:pt x="1276407" y="634449"/>
                    <a:pt x="1276407" y="702990"/>
                    <a:pt x="1318283" y="762012"/>
                  </a:cubicBezTo>
                  <a:cubicBezTo>
                    <a:pt x="1344932" y="800091"/>
                    <a:pt x="1343981" y="808659"/>
                    <a:pt x="1305911" y="831506"/>
                  </a:cubicBezTo>
                  <a:cubicBezTo>
                    <a:pt x="1243096" y="870536"/>
                    <a:pt x="1216446" y="934318"/>
                    <a:pt x="1233578" y="1005716"/>
                  </a:cubicBezTo>
                  <a:cubicBezTo>
                    <a:pt x="1243096" y="1047602"/>
                    <a:pt x="1238337" y="1055218"/>
                    <a:pt x="1196460" y="1062834"/>
                  </a:cubicBezTo>
                  <a:cubicBezTo>
                    <a:pt x="1118417" y="1077113"/>
                    <a:pt x="1073685" y="1122808"/>
                    <a:pt x="1061312" y="1201821"/>
                  </a:cubicBezTo>
                  <a:cubicBezTo>
                    <a:pt x="1055602" y="1236092"/>
                    <a:pt x="1044181" y="1243707"/>
                    <a:pt x="1009918" y="1237044"/>
                  </a:cubicBezTo>
                  <a:cubicBezTo>
                    <a:pt x="924261" y="1218956"/>
                    <a:pt x="872866" y="1240851"/>
                    <a:pt x="826231" y="1315105"/>
                  </a:cubicBezTo>
                  <a:cubicBezTo>
                    <a:pt x="810051" y="1341760"/>
                    <a:pt x="791968" y="1343664"/>
                    <a:pt x="767223" y="1326528"/>
                  </a:cubicBezTo>
                  <a:cubicBezTo>
                    <a:pt x="696793" y="1276074"/>
                    <a:pt x="637785" y="1276074"/>
                    <a:pt x="568308" y="1325576"/>
                  </a:cubicBezTo>
                  <a:cubicBezTo>
                    <a:pt x="540707" y="1345568"/>
                    <a:pt x="527383" y="1342712"/>
                    <a:pt x="508348" y="1312249"/>
                  </a:cubicBezTo>
                  <a:cubicBezTo>
                    <a:pt x="463616" y="1241803"/>
                    <a:pt x="409366" y="1218956"/>
                    <a:pt x="326564" y="1237044"/>
                  </a:cubicBezTo>
                  <a:cubicBezTo>
                    <a:pt x="297060" y="1243707"/>
                    <a:pt x="279929" y="1237044"/>
                    <a:pt x="274218" y="1202773"/>
                  </a:cubicBezTo>
                  <a:cubicBezTo>
                    <a:pt x="260894" y="1118048"/>
                    <a:pt x="219017" y="1077113"/>
                    <a:pt x="132408" y="1061882"/>
                  </a:cubicBezTo>
                  <a:cubicBezTo>
                    <a:pt x="101952" y="1056170"/>
                    <a:pt x="92435" y="1040938"/>
                    <a:pt x="99097" y="1012379"/>
                  </a:cubicBezTo>
                  <a:cubicBezTo>
                    <a:pt x="117180" y="921943"/>
                    <a:pt x="99097" y="878152"/>
                    <a:pt x="21054" y="825794"/>
                  </a:cubicBezTo>
                  <a:cubicBezTo>
                    <a:pt x="-2740" y="809611"/>
                    <a:pt x="-5595" y="793427"/>
                    <a:pt x="10585" y="769628"/>
                  </a:cubicBezTo>
                  <a:cubicBezTo>
                    <a:pt x="62931" y="694423"/>
                    <a:pt x="62931" y="641113"/>
                    <a:pt x="10585" y="567811"/>
                  </a:cubicBezTo>
                  <a:cubicBezTo>
                    <a:pt x="-7499" y="542108"/>
                    <a:pt x="-1788" y="525925"/>
                    <a:pt x="22957" y="509741"/>
                  </a:cubicBezTo>
                  <a:cubicBezTo>
                    <a:pt x="96242" y="464047"/>
                    <a:pt x="117180" y="411689"/>
                    <a:pt x="99097" y="325060"/>
                  </a:cubicBezTo>
                  <a:cubicBezTo>
                    <a:pt x="92435" y="291741"/>
                    <a:pt x="101000" y="280317"/>
                    <a:pt x="135263" y="274605"/>
                  </a:cubicBezTo>
                  <a:cubicBezTo>
                    <a:pt x="212355" y="262230"/>
                    <a:pt x="258990" y="216536"/>
                    <a:pt x="274218" y="138474"/>
                  </a:cubicBezTo>
                  <a:cubicBezTo>
                    <a:pt x="281832" y="98492"/>
                    <a:pt x="289446" y="92780"/>
                    <a:pt x="328468" y="102300"/>
                  </a:cubicBezTo>
                  <a:cubicBezTo>
                    <a:pt x="402704" y="119435"/>
                    <a:pt x="465519" y="93732"/>
                    <a:pt x="505492" y="28998"/>
                  </a:cubicBezTo>
                  <a:cubicBezTo>
                    <a:pt x="527383" y="-6225"/>
                    <a:pt x="537852" y="-8129"/>
                    <a:pt x="573066" y="16623"/>
                  </a:cubicBezTo>
                  <a:cubicBezTo>
                    <a:pt x="633026" y="59461"/>
                    <a:pt x="701552" y="59461"/>
                    <a:pt x="761512" y="16623"/>
                  </a:cubicBezTo>
                  <a:cubicBezTo>
                    <a:pt x="796727" y="-8129"/>
                    <a:pt x="806244" y="-6225"/>
                    <a:pt x="829086" y="28998"/>
                  </a:cubicBezTo>
                  <a:cubicBezTo>
                    <a:pt x="869059" y="93732"/>
                    <a:pt x="931875" y="119435"/>
                    <a:pt x="1006111" y="101348"/>
                  </a:cubicBezTo>
                  <a:cubicBezTo>
                    <a:pt x="1045132" y="91828"/>
                    <a:pt x="1053698" y="97540"/>
                    <a:pt x="1060360" y="137522"/>
                  </a:cubicBezTo>
                  <a:cubicBezTo>
                    <a:pt x="1072733" y="213680"/>
                    <a:pt x="1122224" y="263182"/>
                    <a:pt x="1199315" y="273654"/>
                  </a:cubicBezTo>
                  <a:cubicBezTo>
                    <a:pt x="1222157" y="279365"/>
                    <a:pt x="1238337" y="286029"/>
                    <a:pt x="1238337" y="313636"/>
                  </a:cubicBezTo>
                  <a:close/>
                  <a:moveTo>
                    <a:pt x="666337" y="1156126"/>
                  </a:moveTo>
                  <a:cubicBezTo>
                    <a:pt x="933778" y="1157078"/>
                    <a:pt x="1151728" y="940982"/>
                    <a:pt x="1152680" y="673479"/>
                  </a:cubicBezTo>
                  <a:cubicBezTo>
                    <a:pt x="1153631" y="403121"/>
                    <a:pt x="938537" y="184169"/>
                    <a:pt x="670145" y="183217"/>
                  </a:cubicBezTo>
                  <a:cubicBezTo>
                    <a:pt x="399849" y="182265"/>
                    <a:pt x="182851" y="397409"/>
                    <a:pt x="181899" y="667768"/>
                  </a:cubicBezTo>
                  <a:cubicBezTo>
                    <a:pt x="179996" y="937174"/>
                    <a:pt x="396042" y="1155174"/>
                    <a:pt x="666337" y="1156126"/>
                  </a:cubicBezTo>
                  <a:close/>
                </a:path>
              </a:pathLst>
            </a:custGeom>
            <a:solidFill>
              <a:srgbClr val="F36C2F"/>
            </a:solidFill>
            <a:ln w="9514" cap="flat">
              <a:noFill/>
              <a:prstDash val="solid"/>
              <a:miter/>
            </a:ln>
          </p:spPr>
          <p:txBody>
            <a:bodyPr rtlCol="0" anchor="ctr"/>
            <a:lstStyle/>
            <a:p>
              <a:endParaRPr lang="en-US"/>
            </a:p>
          </p:txBody>
        </p:sp>
        <p:grpSp>
          <p:nvGrpSpPr>
            <p:cNvPr id="6" name="Graphic 2">
              <a:extLst>
                <a:ext uri="{FF2B5EF4-FFF2-40B4-BE49-F238E27FC236}">
                  <a16:creationId xmlns:a16="http://schemas.microsoft.com/office/drawing/2014/main" id="{918A3E65-2F5A-4F0D-4964-EB6CA298D56F}"/>
                </a:ext>
              </a:extLst>
            </p:cNvPr>
            <p:cNvGrpSpPr/>
            <p:nvPr/>
          </p:nvGrpSpPr>
          <p:grpSpPr>
            <a:xfrm>
              <a:off x="-4712685" y="3328877"/>
              <a:ext cx="3646852" cy="3163039"/>
              <a:chOff x="3595127" y="1330866"/>
              <a:chExt cx="3646852" cy="3163039"/>
            </a:xfrm>
            <a:grpFill/>
          </p:grpSpPr>
          <p:sp>
            <p:nvSpPr>
              <p:cNvPr id="7" name="Freeform 6">
                <a:extLst>
                  <a:ext uri="{FF2B5EF4-FFF2-40B4-BE49-F238E27FC236}">
                    <a16:creationId xmlns:a16="http://schemas.microsoft.com/office/drawing/2014/main" id="{80E91A4E-2926-7FD2-875D-77CAD5DAAE30}"/>
                  </a:ext>
                </a:extLst>
              </p:cNvPr>
              <p:cNvSpPr/>
              <p:nvPr/>
            </p:nvSpPr>
            <p:spPr>
              <a:xfrm>
                <a:off x="3595127" y="1330866"/>
                <a:ext cx="3646852" cy="3163039"/>
              </a:xfrm>
              <a:custGeom>
                <a:avLst/>
                <a:gdLst>
                  <a:gd name="connsiteX0" fmla="*/ 0 w 3646852"/>
                  <a:gd name="connsiteY0" fmla="*/ 263695 h 3163039"/>
                  <a:gd name="connsiteX1" fmla="*/ 3807 w 3646852"/>
                  <a:gd name="connsiteY1" fmla="*/ 254175 h 3163039"/>
                  <a:gd name="connsiteX2" fmla="*/ 339773 w 3646852"/>
                  <a:gd name="connsiteY2" fmla="*/ 0 h 3163039"/>
                  <a:gd name="connsiteX3" fmla="*/ 3324449 w 3646852"/>
                  <a:gd name="connsiteY3" fmla="*/ 0 h 3163039"/>
                  <a:gd name="connsiteX4" fmla="*/ 3635670 w 3646852"/>
                  <a:gd name="connsiteY4" fmla="*/ 225616 h 3163039"/>
                  <a:gd name="connsiteX5" fmla="*/ 3646139 w 3646852"/>
                  <a:gd name="connsiteY5" fmla="*/ 313197 h 3163039"/>
                  <a:gd name="connsiteX6" fmla="*/ 3646139 w 3646852"/>
                  <a:gd name="connsiteY6" fmla="*/ 2483680 h 3163039"/>
                  <a:gd name="connsiteX7" fmla="*/ 3331111 w 3646852"/>
                  <a:gd name="connsiteY7" fmla="*/ 2798781 h 3163039"/>
                  <a:gd name="connsiteX8" fmla="*/ 2782905 w 3646852"/>
                  <a:gd name="connsiteY8" fmla="*/ 2798781 h 3163039"/>
                  <a:gd name="connsiteX9" fmla="*/ 2734366 w 3646852"/>
                  <a:gd name="connsiteY9" fmla="*/ 2798781 h 3163039"/>
                  <a:gd name="connsiteX10" fmla="*/ 2734366 w 3646852"/>
                  <a:gd name="connsiteY10" fmla="*/ 2834004 h 3163039"/>
                  <a:gd name="connsiteX11" fmla="*/ 2734366 w 3646852"/>
                  <a:gd name="connsiteY11" fmla="*/ 3087227 h 3163039"/>
                  <a:gd name="connsiteX12" fmla="*/ 2694393 w 3646852"/>
                  <a:gd name="connsiteY12" fmla="*/ 3158625 h 3163039"/>
                  <a:gd name="connsiteX13" fmla="*/ 2619205 w 3646852"/>
                  <a:gd name="connsiteY13" fmla="*/ 3132922 h 3163039"/>
                  <a:gd name="connsiteX14" fmla="*/ 2432663 w 3646852"/>
                  <a:gd name="connsiteY14" fmla="*/ 2942528 h 3163039"/>
                  <a:gd name="connsiteX15" fmla="*/ 2261348 w 3646852"/>
                  <a:gd name="connsiteY15" fmla="*/ 3114834 h 3163039"/>
                  <a:gd name="connsiteX16" fmla="*/ 2233748 w 3646852"/>
                  <a:gd name="connsiteY16" fmla="*/ 3142441 h 3163039"/>
                  <a:gd name="connsiteX17" fmla="*/ 2165222 w 3646852"/>
                  <a:gd name="connsiteY17" fmla="*/ 3157673 h 3163039"/>
                  <a:gd name="connsiteX18" fmla="*/ 2128104 w 3646852"/>
                  <a:gd name="connsiteY18" fmla="*/ 3098651 h 3163039"/>
                  <a:gd name="connsiteX19" fmla="*/ 2128104 w 3646852"/>
                  <a:gd name="connsiteY19" fmla="*/ 2841620 h 3163039"/>
                  <a:gd name="connsiteX20" fmla="*/ 2128104 w 3646852"/>
                  <a:gd name="connsiteY20" fmla="*/ 2797829 h 3163039"/>
                  <a:gd name="connsiteX21" fmla="*/ 2079565 w 3646852"/>
                  <a:gd name="connsiteY21" fmla="*/ 2797829 h 3163039"/>
                  <a:gd name="connsiteX22" fmla="*/ 370229 w 3646852"/>
                  <a:gd name="connsiteY22" fmla="*/ 2799733 h 3163039"/>
                  <a:gd name="connsiteX23" fmla="*/ 0 w 3646852"/>
                  <a:gd name="connsiteY23" fmla="*/ 2536039 h 3163039"/>
                  <a:gd name="connsiteX24" fmla="*/ 0 w 3646852"/>
                  <a:gd name="connsiteY24" fmla="*/ 263695 h 3163039"/>
                  <a:gd name="connsiteX25" fmla="*/ 2129056 w 3646852"/>
                  <a:gd name="connsiteY25" fmla="*/ 2677882 h 3163039"/>
                  <a:gd name="connsiteX26" fmla="*/ 2129056 w 3646852"/>
                  <a:gd name="connsiteY26" fmla="*/ 2628379 h 3163039"/>
                  <a:gd name="connsiteX27" fmla="*/ 2128104 w 3646852"/>
                  <a:gd name="connsiteY27" fmla="*/ 1937252 h 3163039"/>
                  <a:gd name="connsiteX28" fmla="*/ 2103358 w 3646852"/>
                  <a:gd name="connsiteY28" fmla="*/ 1588832 h 3163039"/>
                  <a:gd name="connsiteX29" fmla="*/ 2058626 w 3646852"/>
                  <a:gd name="connsiteY29" fmla="*/ 1546946 h 3163039"/>
                  <a:gd name="connsiteX30" fmla="*/ 1928237 w 3646852"/>
                  <a:gd name="connsiteY30" fmla="*/ 1352744 h 3163039"/>
                  <a:gd name="connsiteX31" fmla="*/ 1904444 w 3646852"/>
                  <a:gd name="connsiteY31" fmla="*/ 1294674 h 3163039"/>
                  <a:gd name="connsiteX32" fmla="*/ 1859711 w 3646852"/>
                  <a:gd name="connsiteY32" fmla="*/ 1065250 h 3163039"/>
                  <a:gd name="connsiteX33" fmla="*/ 1858760 w 3646852"/>
                  <a:gd name="connsiteY33" fmla="*/ 1002421 h 3163039"/>
                  <a:gd name="connsiteX34" fmla="*/ 1905395 w 3646852"/>
                  <a:gd name="connsiteY34" fmla="*/ 772997 h 3163039"/>
                  <a:gd name="connsiteX35" fmla="*/ 1929189 w 3646852"/>
                  <a:gd name="connsiteY35" fmla="*/ 717783 h 3163039"/>
                  <a:gd name="connsiteX36" fmla="*/ 2063385 w 3646852"/>
                  <a:gd name="connsiteY36" fmla="*/ 519774 h 3163039"/>
                  <a:gd name="connsiteX37" fmla="*/ 2102407 w 3646852"/>
                  <a:gd name="connsiteY37" fmla="*/ 481695 h 3163039"/>
                  <a:gd name="connsiteX38" fmla="*/ 2299418 w 3646852"/>
                  <a:gd name="connsiteY38" fmla="*/ 347468 h 3163039"/>
                  <a:gd name="connsiteX39" fmla="*/ 2354619 w 3646852"/>
                  <a:gd name="connsiteY39" fmla="*/ 323669 h 3163039"/>
                  <a:gd name="connsiteX40" fmla="*/ 2583990 w 3646852"/>
                  <a:gd name="connsiteY40" fmla="*/ 277022 h 3163039"/>
                  <a:gd name="connsiteX41" fmla="*/ 2646805 w 3646852"/>
                  <a:gd name="connsiteY41" fmla="*/ 277974 h 3163039"/>
                  <a:gd name="connsiteX42" fmla="*/ 2876176 w 3646852"/>
                  <a:gd name="connsiteY42" fmla="*/ 323669 h 3163039"/>
                  <a:gd name="connsiteX43" fmla="*/ 2935184 w 3646852"/>
                  <a:gd name="connsiteY43" fmla="*/ 347468 h 3163039"/>
                  <a:gd name="connsiteX44" fmla="*/ 3129341 w 3646852"/>
                  <a:gd name="connsiteY44" fmla="*/ 477887 h 3163039"/>
                  <a:gd name="connsiteX45" fmla="*/ 3171217 w 3646852"/>
                  <a:gd name="connsiteY45" fmla="*/ 520726 h 3163039"/>
                  <a:gd name="connsiteX46" fmla="*/ 3302558 w 3646852"/>
                  <a:gd name="connsiteY46" fmla="*/ 716831 h 3163039"/>
                  <a:gd name="connsiteX47" fmla="*/ 3325400 w 3646852"/>
                  <a:gd name="connsiteY47" fmla="*/ 772997 h 3163039"/>
                  <a:gd name="connsiteX48" fmla="*/ 3371084 w 3646852"/>
                  <a:gd name="connsiteY48" fmla="*/ 1004325 h 3163039"/>
                  <a:gd name="connsiteX49" fmla="*/ 3372036 w 3646852"/>
                  <a:gd name="connsiteY49" fmla="*/ 1064298 h 3163039"/>
                  <a:gd name="connsiteX50" fmla="*/ 3324449 w 3646852"/>
                  <a:gd name="connsiteY50" fmla="*/ 1295626 h 3163039"/>
                  <a:gd name="connsiteX51" fmla="*/ 3301606 w 3646852"/>
                  <a:gd name="connsiteY51" fmla="*/ 1348936 h 3163039"/>
                  <a:gd name="connsiteX52" fmla="*/ 3169314 w 3646852"/>
                  <a:gd name="connsiteY52" fmla="*/ 1547897 h 3163039"/>
                  <a:gd name="connsiteX53" fmla="*/ 3135051 w 3646852"/>
                  <a:gd name="connsiteY53" fmla="*/ 1567889 h 3163039"/>
                  <a:gd name="connsiteX54" fmla="*/ 3102692 w 3646852"/>
                  <a:gd name="connsiteY54" fmla="*/ 1700212 h 3163039"/>
                  <a:gd name="connsiteX55" fmla="*/ 3100788 w 3646852"/>
                  <a:gd name="connsiteY55" fmla="*/ 2444650 h 3163039"/>
                  <a:gd name="connsiteX56" fmla="*/ 3100788 w 3646852"/>
                  <a:gd name="connsiteY56" fmla="*/ 2465593 h 3163039"/>
                  <a:gd name="connsiteX57" fmla="*/ 3065574 w 3646852"/>
                  <a:gd name="connsiteY57" fmla="*/ 2547462 h 3163039"/>
                  <a:gd name="connsiteX58" fmla="*/ 2976109 w 3646852"/>
                  <a:gd name="connsiteY58" fmla="*/ 2515095 h 3163039"/>
                  <a:gd name="connsiteX59" fmla="*/ 2800037 w 3646852"/>
                  <a:gd name="connsiteY59" fmla="*/ 2338030 h 3163039"/>
                  <a:gd name="connsiteX60" fmla="*/ 2735318 w 3646852"/>
                  <a:gd name="connsiteY60" fmla="*/ 2467497 h 3163039"/>
                  <a:gd name="connsiteX61" fmla="*/ 2736269 w 3646852"/>
                  <a:gd name="connsiteY61" fmla="*/ 2674074 h 3163039"/>
                  <a:gd name="connsiteX62" fmla="*/ 2772436 w 3646852"/>
                  <a:gd name="connsiteY62" fmla="*/ 2675978 h 3163039"/>
                  <a:gd name="connsiteX63" fmla="*/ 3324449 w 3646852"/>
                  <a:gd name="connsiteY63" fmla="*/ 2675978 h 3163039"/>
                  <a:gd name="connsiteX64" fmla="*/ 3527170 w 3646852"/>
                  <a:gd name="connsiteY64" fmla="*/ 2471305 h 3163039"/>
                  <a:gd name="connsiteX65" fmla="*/ 3527170 w 3646852"/>
                  <a:gd name="connsiteY65" fmla="*/ 322717 h 3163039"/>
                  <a:gd name="connsiteX66" fmla="*/ 3322545 w 3646852"/>
                  <a:gd name="connsiteY66" fmla="*/ 119948 h 3163039"/>
                  <a:gd name="connsiteX67" fmla="*/ 326449 w 3646852"/>
                  <a:gd name="connsiteY67" fmla="*/ 119948 h 3163039"/>
                  <a:gd name="connsiteX68" fmla="*/ 120872 w 3646852"/>
                  <a:gd name="connsiteY68" fmla="*/ 324621 h 3163039"/>
                  <a:gd name="connsiteX69" fmla="*/ 120872 w 3646852"/>
                  <a:gd name="connsiteY69" fmla="*/ 2470353 h 3163039"/>
                  <a:gd name="connsiteX70" fmla="*/ 325497 w 3646852"/>
                  <a:gd name="connsiteY70" fmla="*/ 2675978 h 3163039"/>
                  <a:gd name="connsiteX71" fmla="*/ 2085275 w 3646852"/>
                  <a:gd name="connsiteY71" fmla="*/ 2675978 h 3163039"/>
                  <a:gd name="connsiteX72" fmla="*/ 2129056 w 3646852"/>
                  <a:gd name="connsiteY72" fmla="*/ 2677882 h 3163039"/>
                  <a:gd name="connsiteX73" fmla="*/ 3185494 w 3646852"/>
                  <a:gd name="connsiteY73" fmla="*/ 678752 h 3163039"/>
                  <a:gd name="connsiteX74" fmla="*/ 3146472 w 3646852"/>
                  <a:gd name="connsiteY74" fmla="*/ 640673 h 3163039"/>
                  <a:gd name="connsiteX75" fmla="*/ 3007517 w 3646852"/>
                  <a:gd name="connsiteY75" fmla="*/ 504542 h 3163039"/>
                  <a:gd name="connsiteX76" fmla="*/ 2953268 w 3646852"/>
                  <a:gd name="connsiteY76" fmla="*/ 468368 h 3163039"/>
                  <a:gd name="connsiteX77" fmla="*/ 2776243 w 3646852"/>
                  <a:gd name="connsiteY77" fmla="*/ 396018 h 3163039"/>
                  <a:gd name="connsiteX78" fmla="*/ 2708669 w 3646852"/>
                  <a:gd name="connsiteY78" fmla="*/ 383642 h 3163039"/>
                  <a:gd name="connsiteX79" fmla="*/ 2520223 w 3646852"/>
                  <a:gd name="connsiteY79" fmla="*/ 383642 h 3163039"/>
                  <a:gd name="connsiteX80" fmla="*/ 2452649 w 3646852"/>
                  <a:gd name="connsiteY80" fmla="*/ 396018 h 3163039"/>
                  <a:gd name="connsiteX81" fmla="*/ 2275624 w 3646852"/>
                  <a:gd name="connsiteY81" fmla="*/ 469319 h 3163039"/>
                  <a:gd name="connsiteX82" fmla="*/ 2221375 w 3646852"/>
                  <a:gd name="connsiteY82" fmla="*/ 505494 h 3163039"/>
                  <a:gd name="connsiteX83" fmla="*/ 2082420 w 3646852"/>
                  <a:gd name="connsiteY83" fmla="*/ 641625 h 3163039"/>
                  <a:gd name="connsiteX84" fmla="*/ 2046254 w 3646852"/>
                  <a:gd name="connsiteY84" fmla="*/ 692080 h 3163039"/>
                  <a:gd name="connsiteX85" fmla="*/ 1970114 w 3646852"/>
                  <a:gd name="connsiteY85" fmla="*/ 876761 h 3163039"/>
                  <a:gd name="connsiteX86" fmla="*/ 1957741 w 3646852"/>
                  <a:gd name="connsiteY86" fmla="*/ 934831 h 3163039"/>
                  <a:gd name="connsiteX87" fmla="*/ 1957741 w 3646852"/>
                  <a:gd name="connsiteY87" fmla="*/ 1136648 h 3163039"/>
                  <a:gd name="connsiteX88" fmla="*/ 1968211 w 3646852"/>
                  <a:gd name="connsiteY88" fmla="*/ 1192814 h 3163039"/>
                  <a:gd name="connsiteX89" fmla="*/ 2046254 w 3646852"/>
                  <a:gd name="connsiteY89" fmla="*/ 1379399 h 3163039"/>
                  <a:gd name="connsiteX90" fmla="*/ 2079565 w 3646852"/>
                  <a:gd name="connsiteY90" fmla="*/ 1428902 h 3163039"/>
                  <a:gd name="connsiteX91" fmla="*/ 2221375 w 3646852"/>
                  <a:gd name="connsiteY91" fmla="*/ 1569793 h 3163039"/>
                  <a:gd name="connsiteX92" fmla="*/ 2273721 w 3646852"/>
                  <a:gd name="connsiteY92" fmla="*/ 1604063 h 3163039"/>
                  <a:gd name="connsiteX93" fmla="*/ 2455504 w 3646852"/>
                  <a:gd name="connsiteY93" fmla="*/ 1679269 h 3163039"/>
                  <a:gd name="connsiteX94" fmla="*/ 2515465 w 3646852"/>
                  <a:gd name="connsiteY94" fmla="*/ 1692596 h 3163039"/>
                  <a:gd name="connsiteX95" fmla="*/ 2714379 w 3646852"/>
                  <a:gd name="connsiteY95" fmla="*/ 1693548 h 3163039"/>
                  <a:gd name="connsiteX96" fmla="*/ 2773387 w 3646852"/>
                  <a:gd name="connsiteY96" fmla="*/ 1682125 h 3163039"/>
                  <a:gd name="connsiteX97" fmla="*/ 2957075 w 3646852"/>
                  <a:gd name="connsiteY97" fmla="*/ 1604063 h 3163039"/>
                  <a:gd name="connsiteX98" fmla="*/ 3008469 w 3646852"/>
                  <a:gd name="connsiteY98" fmla="*/ 1568841 h 3163039"/>
                  <a:gd name="connsiteX99" fmla="*/ 3143617 w 3646852"/>
                  <a:gd name="connsiteY99" fmla="*/ 1429854 h 3163039"/>
                  <a:gd name="connsiteX100" fmla="*/ 3180735 w 3646852"/>
                  <a:gd name="connsiteY100" fmla="*/ 1372736 h 3163039"/>
                  <a:gd name="connsiteX101" fmla="*/ 3253068 w 3646852"/>
                  <a:gd name="connsiteY101" fmla="*/ 1198526 h 3163039"/>
                  <a:gd name="connsiteX102" fmla="*/ 3265440 w 3646852"/>
                  <a:gd name="connsiteY102" fmla="*/ 1129032 h 3163039"/>
                  <a:gd name="connsiteX103" fmla="*/ 3265440 w 3646852"/>
                  <a:gd name="connsiteY103" fmla="*/ 943399 h 3163039"/>
                  <a:gd name="connsiteX104" fmla="*/ 3252116 w 3646852"/>
                  <a:gd name="connsiteY104" fmla="*/ 873905 h 3163039"/>
                  <a:gd name="connsiteX105" fmla="*/ 3180735 w 3646852"/>
                  <a:gd name="connsiteY105" fmla="*/ 699695 h 3163039"/>
                  <a:gd name="connsiteX106" fmla="*/ 3185494 w 3646852"/>
                  <a:gd name="connsiteY106" fmla="*/ 678752 h 3163039"/>
                  <a:gd name="connsiteX107" fmla="*/ 2612542 w 3646852"/>
                  <a:gd name="connsiteY107" fmla="*/ 2524615 h 3163039"/>
                  <a:gd name="connsiteX108" fmla="*/ 2524030 w 3646852"/>
                  <a:gd name="connsiteY108" fmla="*/ 2547462 h 3163039"/>
                  <a:gd name="connsiteX109" fmla="*/ 2493574 w 3646852"/>
                  <a:gd name="connsiteY109" fmla="*/ 2462737 h 3163039"/>
                  <a:gd name="connsiteX110" fmla="*/ 2493574 w 3646852"/>
                  <a:gd name="connsiteY110" fmla="*/ 1864902 h 3163039"/>
                  <a:gd name="connsiteX111" fmla="*/ 2493574 w 3646852"/>
                  <a:gd name="connsiteY111" fmla="*/ 1826824 h 3163039"/>
                  <a:gd name="connsiteX112" fmla="*/ 2349861 w 3646852"/>
                  <a:gd name="connsiteY112" fmla="*/ 1741147 h 3163039"/>
                  <a:gd name="connsiteX113" fmla="*/ 2313694 w 3646852"/>
                  <a:gd name="connsiteY113" fmla="*/ 1720203 h 3163039"/>
                  <a:gd name="connsiteX114" fmla="*/ 2253734 w 3646852"/>
                  <a:gd name="connsiteY114" fmla="*/ 1731627 h 3163039"/>
                  <a:gd name="connsiteX115" fmla="*/ 2253734 w 3646852"/>
                  <a:gd name="connsiteY115" fmla="*/ 2955856 h 3163039"/>
                  <a:gd name="connsiteX116" fmla="*/ 2373654 w 3646852"/>
                  <a:gd name="connsiteY116" fmla="*/ 2833052 h 3163039"/>
                  <a:gd name="connsiteX117" fmla="*/ 2490719 w 3646852"/>
                  <a:gd name="connsiteY117" fmla="*/ 2834004 h 3163039"/>
                  <a:gd name="connsiteX118" fmla="*/ 2612542 w 3646852"/>
                  <a:gd name="connsiteY118" fmla="*/ 2959664 h 3163039"/>
                  <a:gd name="connsiteX119" fmla="*/ 2612542 w 3646852"/>
                  <a:gd name="connsiteY119" fmla="*/ 2524615 h 3163039"/>
                  <a:gd name="connsiteX120" fmla="*/ 2617301 w 3646852"/>
                  <a:gd name="connsiteY120" fmla="*/ 1785889 h 3163039"/>
                  <a:gd name="connsiteX121" fmla="*/ 2617301 w 3646852"/>
                  <a:gd name="connsiteY121" fmla="*/ 2349453 h 3163039"/>
                  <a:gd name="connsiteX122" fmla="*/ 2731511 w 3646852"/>
                  <a:gd name="connsiteY122" fmla="*/ 2230457 h 3163039"/>
                  <a:gd name="connsiteX123" fmla="*/ 2860948 w 3646852"/>
                  <a:gd name="connsiteY123" fmla="*/ 2229505 h 3163039"/>
                  <a:gd name="connsiteX124" fmla="*/ 2976109 w 3646852"/>
                  <a:gd name="connsiteY124" fmla="*/ 2346597 h 3163039"/>
                  <a:gd name="connsiteX125" fmla="*/ 2976109 w 3646852"/>
                  <a:gd name="connsiteY125" fmla="*/ 1728771 h 3163039"/>
                  <a:gd name="connsiteX126" fmla="*/ 2950412 w 3646852"/>
                  <a:gd name="connsiteY126" fmla="*/ 1724963 h 3163039"/>
                  <a:gd name="connsiteX127" fmla="*/ 2864755 w 3646852"/>
                  <a:gd name="connsiteY127" fmla="*/ 1760186 h 3163039"/>
                  <a:gd name="connsiteX128" fmla="*/ 2741980 w 3646852"/>
                  <a:gd name="connsiteY128" fmla="*/ 1823016 h 3163039"/>
                  <a:gd name="connsiteX129" fmla="*/ 2617301 w 3646852"/>
                  <a:gd name="connsiteY129" fmla="*/ 1785889 h 316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3646852" h="3163039">
                    <a:moveTo>
                      <a:pt x="0" y="263695"/>
                    </a:moveTo>
                    <a:cubicBezTo>
                      <a:pt x="1904" y="260839"/>
                      <a:pt x="2855" y="257983"/>
                      <a:pt x="3807" y="254175"/>
                    </a:cubicBezTo>
                    <a:cubicBezTo>
                      <a:pt x="55201" y="75205"/>
                      <a:pt x="155135" y="0"/>
                      <a:pt x="339773" y="0"/>
                    </a:cubicBezTo>
                    <a:cubicBezTo>
                      <a:pt x="1334348" y="0"/>
                      <a:pt x="2329874" y="0"/>
                      <a:pt x="3324449" y="0"/>
                    </a:cubicBezTo>
                    <a:cubicBezTo>
                      <a:pt x="3479583" y="0"/>
                      <a:pt x="3598551" y="85677"/>
                      <a:pt x="3635670" y="225616"/>
                    </a:cubicBezTo>
                    <a:cubicBezTo>
                      <a:pt x="3643283" y="254175"/>
                      <a:pt x="3646139" y="284638"/>
                      <a:pt x="3646139" y="313197"/>
                    </a:cubicBezTo>
                    <a:cubicBezTo>
                      <a:pt x="3647090" y="1036691"/>
                      <a:pt x="3647090" y="1760186"/>
                      <a:pt x="3646139" y="2483680"/>
                    </a:cubicBezTo>
                    <a:cubicBezTo>
                      <a:pt x="3646139" y="2666458"/>
                      <a:pt x="3515749" y="2796877"/>
                      <a:pt x="3331111" y="2798781"/>
                    </a:cubicBezTo>
                    <a:cubicBezTo>
                      <a:pt x="3148376" y="2799733"/>
                      <a:pt x="2965640" y="2798781"/>
                      <a:pt x="2782905" y="2798781"/>
                    </a:cubicBezTo>
                    <a:cubicBezTo>
                      <a:pt x="2768629" y="2798781"/>
                      <a:pt x="2754353" y="2798781"/>
                      <a:pt x="2734366" y="2798781"/>
                    </a:cubicBezTo>
                    <a:cubicBezTo>
                      <a:pt x="2734366" y="2811157"/>
                      <a:pt x="2734366" y="2822581"/>
                      <a:pt x="2734366" y="2834004"/>
                    </a:cubicBezTo>
                    <a:cubicBezTo>
                      <a:pt x="2734366" y="2918729"/>
                      <a:pt x="2733414" y="3002502"/>
                      <a:pt x="2734366" y="3087227"/>
                    </a:cubicBezTo>
                    <a:cubicBezTo>
                      <a:pt x="2734366" y="3119594"/>
                      <a:pt x="2726752" y="3146249"/>
                      <a:pt x="2694393" y="3158625"/>
                    </a:cubicBezTo>
                    <a:cubicBezTo>
                      <a:pt x="2662033" y="3171000"/>
                      <a:pt x="2640143" y="3154817"/>
                      <a:pt x="2619205" y="3132922"/>
                    </a:cubicBezTo>
                    <a:cubicBezTo>
                      <a:pt x="2558293" y="3070092"/>
                      <a:pt x="2496430" y="3007262"/>
                      <a:pt x="2432663" y="2942528"/>
                    </a:cubicBezTo>
                    <a:cubicBezTo>
                      <a:pt x="2372703" y="3002502"/>
                      <a:pt x="2317501" y="3058668"/>
                      <a:pt x="2261348" y="3114834"/>
                    </a:cubicBezTo>
                    <a:cubicBezTo>
                      <a:pt x="2251831" y="3124354"/>
                      <a:pt x="2243265" y="3133873"/>
                      <a:pt x="2233748" y="3142441"/>
                    </a:cubicBezTo>
                    <a:cubicBezTo>
                      <a:pt x="2213761" y="3161481"/>
                      <a:pt x="2191871" y="3169096"/>
                      <a:pt x="2165222" y="3157673"/>
                    </a:cubicBezTo>
                    <a:cubicBezTo>
                      <a:pt x="2139525" y="3146249"/>
                      <a:pt x="2128104" y="3126258"/>
                      <a:pt x="2128104" y="3098651"/>
                    </a:cubicBezTo>
                    <a:cubicBezTo>
                      <a:pt x="2128104" y="3012974"/>
                      <a:pt x="2128104" y="2927297"/>
                      <a:pt x="2128104" y="2841620"/>
                    </a:cubicBezTo>
                    <a:cubicBezTo>
                      <a:pt x="2128104" y="2829244"/>
                      <a:pt x="2128104" y="2815917"/>
                      <a:pt x="2128104" y="2797829"/>
                    </a:cubicBezTo>
                    <a:cubicBezTo>
                      <a:pt x="2110021" y="2797829"/>
                      <a:pt x="2094793" y="2797829"/>
                      <a:pt x="2079565" y="2797829"/>
                    </a:cubicBezTo>
                    <a:cubicBezTo>
                      <a:pt x="1509469" y="2797829"/>
                      <a:pt x="939373" y="2794974"/>
                      <a:pt x="370229" y="2799733"/>
                    </a:cubicBezTo>
                    <a:cubicBezTo>
                      <a:pt x="188446" y="2801637"/>
                      <a:pt x="43780" y="2731192"/>
                      <a:pt x="0" y="2536039"/>
                    </a:cubicBezTo>
                    <a:cubicBezTo>
                      <a:pt x="0" y="1779225"/>
                      <a:pt x="0" y="1021460"/>
                      <a:pt x="0" y="263695"/>
                    </a:cubicBezTo>
                    <a:close/>
                    <a:moveTo>
                      <a:pt x="2129056" y="2677882"/>
                    </a:moveTo>
                    <a:cubicBezTo>
                      <a:pt x="2129056" y="2656938"/>
                      <a:pt x="2129056" y="2642659"/>
                      <a:pt x="2129056" y="2628379"/>
                    </a:cubicBezTo>
                    <a:cubicBezTo>
                      <a:pt x="2129056" y="2398003"/>
                      <a:pt x="2130959" y="2167627"/>
                      <a:pt x="2128104" y="1937252"/>
                    </a:cubicBezTo>
                    <a:cubicBezTo>
                      <a:pt x="2126200" y="1821112"/>
                      <a:pt x="2147139" y="1703068"/>
                      <a:pt x="2103358" y="1588832"/>
                    </a:cubicBezTo>
                    <a:cubicBezTo>
                      <a:pt x="2093841" y="1564081"/>
                      <a:pt x="2084323" y="1550753"/>
                      <a:pt x="2058626" y="1546946"/>
                    </a:cubicBezTo>
                    <a:cubicBezTo>
                      <a:pt x="1959645" y="1532666"/>
                      <a:pt x="1903492" y="1449845"/>
                      <a:pt x="1928237" y="1352744"/>
                    </a:cubicBezTo>
                    <a:cubicBezTo>
                      <a:pt x="1934900" y="1325137"/>
                      <a:pt x="1929189" y="1309906"/>
                      <a:pt x="1904444" y="1294674"/>
                    </a:cubicBezTo>
                    <a:cubicBezTo>
                      <a:pt x="1818786" y="1244220"/>
                      <a:pt x="1799752" y="1146168"/>
                      <a:pt x="1859711" y="1065250"/>
                    </a:cubicBezTo>
                    <a:cubicBezTo>
                      <a:pt x="1876843" y="1041451"/>
                      <a:pt x="1875891" y="1025268"/>
                      <a:pt x="1858760" y="1002421"/>
                    </a:cubicBezTo>
                    <a:cubicBezTo>
                      <a:pt x="1798800" y="921503"/>
                      <a:pt x="1818786" y="825355"/>
                      <a:pt x="1905395" y="772997"/>
                    </a:cubicBezTo>
                    <a:cubicBezTo>
                      <a:pt x="1928237" y="758717"/>
                      <a:pt x="1935851" y="744438"/>
                      <a:pt x="1929189" y="717783"/>
                    </a:cubicBezTo>
                    <a:cubicBezTo>
                      <a:pt x="1904444" y="615922"/>
                      <a:pt x="1958693" y="535957"/>
                      <a:pt x="2063385" y="519774"/>
                    </a:cubicBezTo>
                    <a:cubicBezTo>
                      <a:pt x="2087179" y="515966"/>
                      <a:pt x="2098600" y="504542"/>
                      <a:pt x="2102407" y="481695"/>
                    </a:cubicBezTo>
                    <a:cubicBezTo>
                      <a:pt x="2119538" y="376027"/>
                      <a:pt x="2195678" y="323669"/>
                      <a:pt x="2299418" y="347468"/>
                    </a:cubicBezTo>
                    <a:cubicBezTo>
                      <a:pt x="2325115" y="353180"/>
                      <a:pt x="2341295" y="347468"/>
                      <a:pt x="2354619" y="323669"/>
                    </a:cubicBezTo>
                    <a:cubicBezTo>
                      <a:pt x="2406014" y="237040"/>
                      <a:pt x="2504043" y="217048"/>
                      <a:pt x="2583990" y="277022"/>
                    </a:cubicBezTo>
                    <a:cubicBezTo>
                      <a:pt x="2606832" y="294158"/>
                      <a:pt x="2623964" y="295110"/>
                      <a:pt x="2646805" y="277974"/>
                    </a:cubicBezTo>
                    <a:cubicBezTo>
                      <a:pt x="2726752" y="218000"/>
                      <a:pt x="2823830" y="237040"/>
                      <a:pt x="2876176" y="323669"/>
                    </a:cubicBezTo>
                    <a:cubicBezTo>
                      <a:pt x="2891404" y="348420"/>
                      <a:pt x="2907584" y="354132"/>
                      <a:pt x="2935184" y="347468"/>
                    </a:cubicBezTo>
                    <a:cubicBezTo>
                      <a:pt x="3032262" y="323669"/>
                      <a:pt x="3116016" y="379835"/>
                      <a:pt x="3129341" y="477887"/>
                    </a:cubicBezTo>
                    <a:cubicBezTo>
                      <a:pt x="3133148" y="504542"/>
                      <a:pt x="3143617" y="516918"/>
                      <a:pt x="3171217" y="520726"/>
                    </a:cubicBezTo>
                    <a:cubicBezTo>
                      <a:pt x="3272103" y="535005"/>
                      <a:pt x="3326352" y="616874"/>
                      <a:pt x="3302558" y="716831"/>
                    </a:cubicBezTo>
                    <a:cubicBezTo>
                      <a:pt x="3296848" y="742534"/>
                      <a:pt x="3302558" y="758717"/>
                      <a:pt x="3325400" y="772997"/>
                    </a:cubicBezTo>
                    <a:cubicBezTo>
                      <a:pt x="3413912" y="826307"/>
                      <a:pt x="3431996" y="920552"/>
                      <a:pt x="3371084" y="1004325"/>
                    </a:cubicBezTo>
                    <a:cubicBezTo>
                      <a:pt x="3354904" y="1026220"/>
                      <a:pt x="3355856" y="1042403"/>
                      <a:pt x="3372036" y="1064298"/>
                    </a:cubicBezTo>
                    <a:cubicBezTo>
                      <a:pt x="3432947" y="1146168"/>
                      <a:pt x="3413912" y="1242316"/>
                      <a:pt x="3324449" y="1295626"/>
                    </a:cubicBezTo>
                    <a:cubicBezTo>
                      <a:pt x="3302558" y="1308954"/>
                      <a:pt x="3295896" y="1324185"/>
                      <a:pt x="3301606" y="1348936"/>
                    </a:cubicBezTo>
                    <a:cubicBezTo>
                      <a:pt x="3325400" y="1454605"/>
                      <a:pt x="3274958" y="1528858"/>
                      <a:pt x="3169314" y="1547897"/>
                    </a:cubicBezTo>
                    <a:cubicBezTo>
                      <a:pt x="3156941" y="1549801"/>
                      <a:pt x="3137906" y="1558369"/>
                      <a:pt x="3135051" y="1567889"/>
                    </a:cubicBezTo>
                    <a:cubicBezTo>
                      <a:pt x="3121726" y="1611679"/>
                      <a:pt x="3103643" y="1655470"/>
                      <a:pt x="3102692" y="1700212"/>
                    </a:cubicBezTo>
                    <a:cubicBezTo>
                      <a:pt x="3099836" y="1948675"/>
                      <a:pt x="3100788" y="2197139"/>
                      <a:pt x="3100788" y="2444650"/>
                    </a:cubicBezTo>
                    <a:cubicBezTo>
                      <a:pt x="3100788" y="2451314"/>
                      <a:pt x="3100788" y="2458929"/>
                      <a:pt x="3100788" y="2465593"/>
                    </a:cubicBezTo>
                    <a:cubicBezTo>
                      <a:pt x="3102692" y="2498912"/>
                      <a:pt x="3101740" y="2532231"/>
                      <a:pt x="3065574" y="2547462"/>
                    </a:cubicBezTo>
                    <a:cubicBezTo>
                      <a:pt x="3026552" y="2564598"/>
                      <a:pt x="3000855" y="2540798"/>
                      <a:pt x="2976109" y="2515095"/>
                    </a:cubicBezTo>
                    <a:cubicBezTo>
                      <a:pt x="2917101" y="2455121"/>
                      <a:pt x="2857141" y="2396099"/>
                      <a:pt x="2800037" y="2338030"/>
                    </a:cubicBezTo>
                    <a:cubicBezTo>
                      <a:pt x="2748642" y="2368492"/>
                      <a:pt x="2731511" y="2410379"/>
                      <a:pt x="2735318" y="2467497"/>
                    </a:cubicBezTo>
                    <a:cubicBezTo>
                      <a:pt x="2740076" y="2535087"/>
                      <a:pt x="2736269" y="2604580"/>
                      <a:pt x="2736269" y="2674074"/>
                    </a:cubicBezTo>
                    <a:cubicBezTo>
                      <a:pt x="2751497" y="2675026"/>
                      <a:pt x="2761967" y="2675978"/>
                      <a:pt x="2772436" y="2675978"/>
                    </a:cubicBezTo>
                    <a:cubicBezTo>
                      <a:pt x="2956123" y="2675978"/>
                      <a:pt x="3140761" y="2675978"/>
                      <a:pt x="3324449" y="2675978"/>
                    </a:cubicBezTo>
                    <a:cubicBezTo>
                      <a:pt x="3452934" y="2675978"/>
                      <a:pt x="3527170" y="2600772"/>
                      <a:pt x="3527170" y="2471305"/>
                    </a:cubicBezTo>
                    <a:cubicBezTo>
                      <a:pt x="3527170" y="1755426"/>
                      <a:pt x="3527170" y="1038595"/>
                      <a:pt x="3527170" y="322717"/>
                    </a:cubicBezTo>
                    <a:cubicBezTo>
                      <a:pt x="3527170" y="194201"/>
                      <a:pt x="3452934" y="119948"/>
                      <a:pt x="3322545" y="119948"/>
                    </a:cubicBezTo>
                    <a:cubicBezTo>
                      <a:pt x="2324164" y="119948"/>
                      <a:pt x="1325782" y="119948"/>
                      <a:pt x="326449" y="119948"/>
                    </a:cubicBezTo>
                    <a:cubicBezTo>
                      <a:pt x="195108" y="119948"/>
                      <a:pt x="120872" y="193249"/>
                      <a:pt x="120872" y="324621"/>
                    </a:cubicBezTo>
                    <a:cubicBezTo>
                      <a:pt x="120872" y="1039547"/>
                      <a:pt x="120872" y="1754474"/>
                      <a:pt x="120872" y="2470353"/>
                    </a:cubicBezTo>
                    <a:cubicBezTo>
                      <a:pt x="120872" y="2601724"/>
                      <a:pt x="194156" y="2675978"/>
                      <a:pt x="325497" y="2675978"/>
                    </a:cubicBezTo>
                    <a:cubicBezTo>
                      <a:pt x="911773" y="2675978"/>
                      <a:pt x="1499000" y="2675978"/>
                      <a:pt x="2085275" y="2675978"/>
                    </a:cubicBezTo>
                    <a:cubicBezTo>
                      <a:pt x="2098600" y="2677882"/>
                      <a:pt x="2110973" y="2677882"/>
                      <a:pt x="2129056" y="2677882"/>
                    </a:cubicBezTo>
                    <a:close/>
                    <a:moveTo>
                      <a:pt x="3185494" y="678752"/>
                    </a:moveTo>
                    <a:cubicBezTo>
                      <a:pt x="3185494" y="651145"/>
                      <a:pt x="3169314" y="644481"/>
                      <a:pt x="3146472" y="640673"/>
                    </a:cubicBezTo>
                    <a:cubicBezTo>
                      <a:pt x="3069380" y="630202"/>
                      <a:pt x="3020841" y="580700"/>
                      <a:pt x="3007517" y="504542"/>
                    </a:cubicBezTo>
                    <a:cubicBezTo>
                      <a:pt x="3000855" y="464560"/>
                      <a:pt x="2992289" y="458848"/>
                      <a:pt x="2953268" y="468368"/>
                    </a:cubicBezTo>
                    <a:cubicBezTo>
                      <a:pt x="2879031" y="485503"/>
                      <a:pt x="2816216" y="459800"/>
                      <a:pt x="2776243" y="396018"/>
                    </a:cubicBezTo>
                    <a:cubicBezTo>
                      <a:pt x="2754353" y="360795"/>
                      <a:pt x="2743884" y="358891"/>
                      <a:pt x="2708669" y="383642"/>
                    </a:cubicBezTo>
                    <a:cubicBezTo>
                      <a:pt x="2647757" y="426481"/>
                      <a:pt x="2580183" y="426481"/>
                      <a:pt x="2520223" y="383642"/>
                    </a:cubicBezTo>
                    <a:cubicBezTo>
                      <a:pt x="2485009" y="358891"/>
                      <a:pt x="2474539" y="360795"/>
                      <a:pt x="2452649" y="396018"/>
                    </a:cubicBezTo>
                    <a:cubicBezTo>
                      <a:pt x="2412676" y="460752"/>
                      <a:pt x="2349861" y="486455"/>
                      <a:pt x="2275624" y="469319"/>
                    </a:cubicBezTo>
                    <a:cubicBezTo>
                      <a:pt x="2236603" y="459800"/>
                      <a:pt x="2228037" y="465512"/>
                      <a:pt x="2221375" y="505494"/>
                    </a:cubicBezTo>
                    <a:cubicBezTo>
                      <a:pt x="2207099" y="583555"/>
                      <a:pt x="2160463" y="630202"/>
                      <a:pt x="2082420" y="641625"/>
                    </a:cubicBezTo>
                    <a:cubicBezTo>
                      <a:pt x="2048157" y="647337"/>
                      <a:pt x="2039592" y="658761"/>
                      <a:pt x="2046254" y="692080"/>
                    </a:cubicBezTo>
                    <a:cubicBezTo>
                      <a:pt x="2064337" y="778708"/>
                      <a:pt x="2043399" y="830115"/>
                      <a:pt x="1970114" y="876761"/>
                    </a:cubicBezTo>
                    <a:cubicBezTo>
                      <a:pt x="1944417" y="892944"/>
                      <a:pt x="1939658" y="909128"/>
                      <a:pt x="1957741" y="934831"/>
                    </a:cubicBezTo>
                    <a:cubicBezTo>
                      <a:pt x="2010087" y="1008132"/>
                      <a:pt x="2010087" y="1061443"/>
                      <a:pt x="1957741" y="1136648"/>
                    </a:cubicBezTo>
                    <a:cubicBezTo>
                      <a:pt x="1941562" y="1160447"/>
                      <a:pt x="1944417" y="1176631"/>
                      <a:pt x="1968211" y="1192814"/>
                    </a:cubicBezTo>
                    <a:cubicBezTo>
                      <a:pt x="2046254" y="1245172"/>
                      <a:pt x="2065289" y="1288963"/>
                      <a:pt x="2046254" y="1379399"/>
                    </a:cubicBezTo>
                    <a:cubicBezTo>
                      <a:pt x="2040543" y="1407958"/>
                      <a:pt x="2049109" y="1423190"/>
                      <a:pt x="2079565" y="1428902"/>
                    </a:cubicBezTo>
                    <a:cubicBezTo>
                      <a:pt x="2166174" y="1444133"/>
                      <a:pt x="2207099" y="1485068"/>
                      <a:pt x="2221375" y="1569793"/>
                    </a:cubicBezTo>
                    <a:cubicBezTo>
                      <a:pt x="2227085" y="1603111"/>
                      <a:pt x="2244217" y="1610727"/>
                      <a:pt x="2273721" y="1604063"/>
                    </a:cubicBezTo>
                    <a:cubicBezTo>
                      <a:pt x="2356523" y="1585976"/>
                      <a:pt x="2410773" y="1608823"/>
                      <a:pt x="2455504" y="1679269"/>
                    </a:cubicBezTo>
                    <a:cubicBezTo>
                      <a:pt x="2474539" y="1708780"/>
                      <a:pt x="2487864" y="1711636"/>
                      <a:pt x="2515465" y="1692596"/>
                    </a:cubicBezTo>
                    <a:cubicBezTo>
                      <a:pt x="2584942" y="1643094"/>
                      <a:pt x="2643950" y="1643094"/>
                      <a:pt x="2714379" y="1693548"/>
                    </a:cubicBezTo>
                    <a:cubicBezTo>
                      <a:pt x="2739125" y="1710684"/>
                      <a:pt x="2756256" y="1708780"/>
                      <a:pt x="2773387" y="1682125"/>
                    </a:cubicBezTo>
                    <a:cubicBezTo>
                      <a:pt x="2820023" y="1607871"/>
                      <a:pt x="2871417" y="1586928"/>
                      <a:pt x="2957075" y="1604063"/>
                    </a:cubicBezTo>
                    <a:cubicBezTo>
                      <a:pt x="2991337" y="1610727"/>
                      <a:pt x="3002758" y="1603111"/>
                      <a:pt x="3008469" y="1568841"/>
                    </a:cubicBezTo>
                    <a:cubicBezTo>
                      <a:pt x="3021793" y="1489828"/>
                      <a:pt x="3065574" y="1444133"/>
                      <a:pt x="3143617" y="1429854"/>
                    </a:cubicBezTo>
                    <a:cubicBezTo>
                      <a:pt x="3185494" y="1422238"/>
                      <a:pt x="3191204" y="1413670"/>
                      <a:pt x="3180735" y="1372736"/>
                    </a:cubicBezTo>
                    <a:cubicBezTo>
                      <a:pt x="3163603" y="1300386"/>
                      <a:pt x="3190252" y="1237556"/>
                      <a:pt x="3253068" y="1198526"/>
                    </a:cubicBezTo>
                    <a:cubicBezTo>
                      <a:pt x="3290186" y="1174727"/>
                      <a:pt x="3292089" y="1167111"/>
                      <a:pt x="3265440" y="1129032"/>
                    </a:cubicBezTo>
                    <a:cubicBezTo>
                      <a:pt x="3223563" y="1070010"/>
                      <a:pt x="3223563" y="1001469"/>
                      <a:pt x="3265440" y="943399"/>
                    </a:cubicBezTo>
                    <a:cubicBezTo>
                      <a:pt x="3292089" y="906272"/>
                      <a:pt x="3290186" y="897704"/>
                      <a:pt x="3252116" y="873905"/>
                    </a:cubicBezTo>
                    <a:cubicBezTo>
                      <a:pt x="3189301" y="834875"/>
                      <a:pt x="3163603" y="771093"/>
                      <a:pt x="3180735" y="699695"/>
                    </a:cubicBezTo>
                    <a:cubicBezTo>
                      <a:pt x="3182638" y="691128"/>
                      <a:pt x="3184542" y="684464"/>
                      <a:pt x="3185494" y="678752"/>
                    </a:cubicBezTo>
                    <a:close/>
                    <a:moveTo>
                      <a:pt x="2612542" y="2524615"/>
                    </a:moveTo>
                    <a:cubicBezTo>
                      <a:pt x="2584942" y="2550318"/>
                      <a:pt x="2557341" y="2565550"/>
                      <a:pt x="2524030" y="2547462"/>
                    </a:cubicBezTo>
                    <a:cubicBezTo>
                      <a:pt x="2488816" y="2528423"/>
                      <a:pt x="2493574" y="2495104"/>
                      <a:pt x="2493574" y="2462737"/>
                    </a:cubicBezTo>
                    <a:cubicBezTo>
                      <a:pt x="2493574" y="2263776"/>
                      <a:pt x="2493574" y="2063863"/>
                      <a:pt x="2493574" y="1864902"/>
                    </a:cubicBezTo>
                    <a:cubicBezTo>
                      <a:pt x="2493574" y="1852527"/>
                      <a:pt x="2493574" y="1840151"/>
                      <a:pt x="2493574" y="1826824"/>
                    </a:cubicBezTo>
                    <a:cubicBezTo>
                      <a:pt x="2426952" y="1823016"/>
                      <a:pt x="2380317" y="1795409"/>
                      <a:pt x="2349861" y="1741147"/>
                    </a:cubicBezTo>
                    <a:cubicBezTo>
                      <a:pt x="2343199" y="1730675"/>
                      <a:pt x="2326067" y="1720203"/>
                      <a:pt x="2313694" y="1720203"/>
                    </a:cubicBezTo>
                    <a:cubicBezTo>
                      <a:pt x="2293708" y="1719251"/>
                      <a:pt x="2272769" y="1727819"/>
                      <a:pt x="2253734" y="1731627"/>
                    </a:cubicBezTo>
                    <a:cubicBezTo>
                      <a:pt x="2253734" y="2139068"/>
                      <a:pt x="2253734" y="2542702"/>
                      <a:pt x="2253734" y="2955856"/>
                    </a:cubicBezTo>
                    <a:cubicBezTo>
                      <a:pt x="2297515" y="2911113"/>
                      <a:pt x="2335584" y="2872083"/>
                      <a:pt x="2373654" y="2833052"/>
                    </a:cubicBezTo>
                    <a:cubicBezTo>
                      <a:pt x="2418386" y="2788310"/>
                      <a:pt x="2445987" y="2788310"/>
                      <a:pt x="2490719" y="2834004"/>
                    </a:cubicBezTo>
                    <a:cubicBezTo>
                      <a:pt x="2529741" y="2873035"/>
                      <a:pt x="2567811" y="2913017"/>
                      <a:pt x="2612542" y="2959664"/>
                    </a:cubicBezTo>
                    <a:cubicBezTo>
                      <a:pt x="2612542" y="2807349"/>
                      <a:pt x="2612542" y="2668362"/>
                      <a:pt x="2612542" y="2524615"/>
                    </a:cubicBezTo>
                    <a:close/>
                    <a:moveTo>
                      <a:pt x="2617301" y="1785889"/>
                    </a:moveTo>
                    <a:cubicBezTo>
                      <a:pt x="2617301" y="1965811"/>
                      <a:pt x="2617301" y="2152396"/>
                      <a:pt x="2617301" y="2349453"/>
                    </a:cubicBezTo>
                    <a:cubicBezTo>
                      <a:pt x="2660130" y="2304711"/>
                      <a:pt x="2695344" y="2267584"/>
                      <a:pt x="2731511" y="2230457"/>
                    </a:cubicBezTo>
                    <a:cubicBezTo>
                      <a:pt x="2784809" y="2176195"/>
                      <a:pt x="2807650" y="2176195"/>
                      <a:pt x="2860948" y="2229505"/>
                    </a:cubicBezTo>
                    <a:cubicBezTo>
                      <a:pt x="2898066" y="2266632"/>
                      <a:pt x="2935184" y="2303759"/>
                      <a:pt x="2976109" y="2346597"/>
                    </a:cubicBezTo>
                    <a:cubicBezTo>
                      <a:pt x="2976109" y="2135261"/>
                      <a:pt x="2976109" y="1932492"/>
                      <a:pt x="2976109" y="1728771"/>
                    </a:cubicBezTo>
                    <a:cubicBezTo>
                      <a:pt x="2966592" y="1727819"/>
                      <a:pt x="2957075" y="1727819"/>
                      <a:pt x="2950412" y="1724963"/>
                    </a:cubicBezTo>
                    <a:cubicBezTo>
                      <a:pt x="2910439" y="1709732"/>
                      <a:pt x="2886645" y="1721155"/>
                      <a:pt x="2864755" y="1760186"/>
                    </a:cubicBezTo>
                    <a:cubicBezTo>
                      <a:pt x="2839058" y="1804928"/>
                      <a:pt x="2793374" y="1829679"/>
                      <a:pt x="2741980" y="1823016"/>
                    </a:cubicBezTo>
                    <a:cubicBezTo>
                      <a:pt x="2700103" y="1818256"/>
                      <a:pt x="2660130" y="1799217"/>
                      <a:pt x="2617301" y="1785889"/>
                    </a:cubicBezTo>
                    <a:close/>
                  </a:path>
                </a:pathLst>
              </a:custGeom>
              <a:grpFill/>
              <a:ln w="9514"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0451BC8-7269-8A08-CBE3-F3B93E7952A0}"/>
                  </a:ext>
                </a:extLst>
              </p:cNvPr>
              <p:cNvSpPr/>
              <p:nvPr/>
            </p:nvSpPr>
            <p:spPr>
              <a:xfrm>
                <a:off x="3958932" y="1816221"/>
                <a:ext cx="1519700" cy="1825688"/>
              </a:xfrm>
              <a:custGeom>
                <a:avLst/>
                <a:gdLst>
                  <a:gd name="connsiteX0" fmla="*/ 121585 w 1519700"/>
                  <a:gd name="connsiteY0" fmla="*/ 914987 h 1825688"/>
                  <a:gd name="connsiteX1" fmla="*/ 121585 w 1519700"/>
                  <a:gd name="connsiteY1" fmla="*/ 1499494 h 1825688"/>
                  <a:gd name="connsiteX2" fmla="*/ 326211 w 1519700"/>
                  <a:gd name="connsiteY2" fmla="*/ 1704167 h 1825688"/>
                  <a:gd name="connsiteX3" fmla="*/ 1419767 w 1519700"/>
                  <a:gd name="connsiteY3" fmla="*/ 1704167 h 1825688"/>
                  <a:gd name="connsiteX4" fmla="*/ 1448319 w 1519700"/>
                  <a:gd name="connsiteY4" fmla="*/ 1704167 h 1825688"/>
                  <a:gd name="connsiteX5" fmla="*/ 1519700 w 1519700"/>
                  <a:gd name="connsiteY5" fmla="*/ 1766045 h 1825688"/>
                  <a:gd name="connsiteX6" fmla="*/ 1450223 w 1519700"/>
                  <a:gd name="connsiteY6" fmla="*/ 1825067 h 1825688"/>
                  <a:gd name="connsiteX7" fmla="*/ 303369 w 1519700"/>
                  <a:gd name="connsiteY7" fmla="*/ 1824115 h 1825688"/>
                  <a:gd name="connsiteX8" fmla="*/ 714 w 1519700"/>
                  <a:gd name="connsiteY8" fmla="*/ 1516630 h 1825688"/>
                  <a:gd name="connsiteX9" fmla="*/ 714 w 1519700"/>
                  <a:gd name="connsiteY9" fmla="*/ 312392 h 1825688"/>
                  <a:gd name="connsiteX10" fmla="*/ 311935 w 1519700"/>
                  <a:gd name="connsiteY10" fmla="*/ 1099 h 1825688"/>
                  <a:gd name="connsiteX11" fmla="*/ 1384552 w 1519700"/>
                  <a:gd name="connsiteY11" fmla="*/ 1099 h 1825688"/>
                  <a:gd name="connsiteX12" fmla="*/ 1459740 w 1519700"/>
                  <a:gd name="connsiteY12" fmla="*/ 62977 h 1825688"/>
                  <a:gd name="connsiteX13" fmla="*/ 1382649 w 1519700"/>
                  <a:gd name="connsiteY13" fmla="*/ 122951 h 1825688"/>
                  <a:gd name="connsiteX14" fmla="*/ 324307 w 1519700"/>
                  <a:gd name="connsiteY14" fmla="*/ 122951 h 1825688"/>
                  <a:gd name="connsiteX15" fmla="*/ 179642 w 1519700"/>
                  <a:gd name="connsiteY15" fmla="*/ 172453 h 1825688"/>
                  <a:gd name="connsiteX16" fmla="*/ 120634 w 1519700"/>
                  <a:gd name="connsiteY16" fmla="*/ 320008 h 1825688"/>
                  <a:gd name="connsiteX17" fmla="*/ 121585 w 1519700"/>
                  <a:gd name="connsiteY17" fmla="*/ 914987 h 182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700" h="1825688">
                    <a:moveTo>
                      <a:pt x="121585" y="914987"/>
                    </a:moveTo>
                    <a:cubicBezTo>
                      <a:pt x="121585" y="1110140"/>
                      <a:pt x="121585" y="1304341"/>
                      <a:pt x="121585" y="1499494"/>
                    </a:cubicBezTo>
                    <a:cubicBezTo>
                      <a:pt x="121585" y="1631818"/>
                      <a:pt x="193918" y="1704167"/>
                      <a:pt x="326211" y="1704167"/>
                    </a:cubicBezTo>
                    <a:cubicBezTo>
                      <a:pt x="690730" y="1704167"/>
                      <a:pt x="1055248" y="1704167"/>
                      <a:pt x="1419767" y="1704167"/>
                    </a:cubicBezTo>
                    <a:cubicBezTo>
                      <a:pt x="1429284" y="1704167"/>
                      <a:pt x="1438802" y="1704167"/>
                      <a:pt x="1448319" y="1704167"/>
                    </a:cubicBezTo>
                    <a:cubicBezTo>
                      <a:pt x="1493051" y="1705119"/>
                      <a:pt x="1519700" y="1728918"/>
                      <a:pt x="1519700" y="1766045"/>
                    </a:cubicBezTo>
                    <a:cubicBezTo>
                      <a:pt x="1518749" y="1802220"/>
                      <a:pt x="1493051" y="1825067"/>
                      <a:pt x="1450223" y="1825067"/>
                    </a:cubicBezTo>
                    <a:cubicBezTo>
                      <a:pt x="1067621" y="1825067"/>
                      <a:pt x="685019" y="1826971"/>
                      <a:pt x="303369" y="1824115"/>
                    </a:cubicBezTo>
                    <a:cubicBezTo>
                      <a:pt x="129199" y="1823163"/>
                      <a:pt x="1666" y="1690840"/>
                      <a:pt x="714" y="1516630"/>
                    </a:cubicBezTo>
                    <a:cubicBezTo>
                      <a:pt x="-238" y="1114900"/>
                      <a:pt x="-238" y="713170"/>
                      <a:pt x="714" y="312392"/>
                    </a:cubicBezTo>
                    <a:cubicBezTo>
                      <a:pt x="714" y="133423"/>
                      <a:pt x="131103" y="2051"/>
                      <a:pt x="311935" y="1099"/>
                    </a:cubicBezTo>
                    <a:cubicBezTo>
                      <a:pt x="669791" y="-805"/>
                      <a:pt x="1026696" y="147"/>
                      <a:pt x="1384552" y="1099"/>
                    </a:cubicBezTo>
                    <a:cubicBezTo>
                      <a:pt x="1432140" y="1099"/>
                      <a:pt x="1460692" y="24898"/>
                      <a:pt x="1459740" y="62977"/>
                    </a:cubicBezTo>
                    <a:cubicBezTo>
                      <a:pt x="1459740" y="101056"/>
                      <a:pt x="1432140" y="122951"/>
                      <a:pt x="1382649" y="122951"/>
                    </a:cubicBezTo>
                    <a:cubicBezTo>
                      <a:pt x="1029551" y="122951"/>
                      <a:pt x="677405" y="122951"/>
                      <a:pt x="324307" y="122951"/>
                    </a:cubicBezTo>
                    <a:cubicBezTo>
                      <a:pt x="270058" y="122951"/>
                      <a:pt x="220567" y="134374"/>
                      <a:pt x="179642" y="172453"/>
                    </a:cubicBezTo>
                    <a:cubicBezTo>
                      <a:pt x="136813" y="212436"/>
                      <a:pt x="120634" y="262890"/>
                      <a:pt x="120634" y="320008"/>
                    </a:cubicBezTo>
                    <a:cubicBezTo>
                      <a:pt x="122537" y="518969"/>
                      <a:pt x="121585" y="716978"/>
                      <a:pt x="121585" y="914987"/>
                    </a:cubicBezTo>
                    <a:close/>
                  </a:path>
                </a:pathLst>
              </a:custGeom>
              <a:grpFill/>
              <a:ln w="9514"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2510A79-B050-B21B-A7CE-8642BE87B5FE}"/>
                  </a:ext>
                </a:extLst>
              </p:cNvPr>
              <p:cNvSpPr/>
              <p:nvPr/>
            </p:nvSpPr>
            <p:spPr>
              <a:xfrm>
                <a:off x="4263501" y="3034109"/>
                <a:ext cx="1032395" cy="364577"/>
              </a:xfrm>
              <a:custGeom>
                <a:avLst/>
                <a:gdLst>
                  <a:gd name="connsiteX0" fmla="*/ 553668 w 1032395"/>
                  <a:gd name="connsiteY0" fmla="*/ 266375 h 364577"/>
                  <a:gd name="connsiteX1" fmla="*/ 280517 w 1032395"/>
                  <a:gd name="connsiteY1" fmla="*/ 214969 h 364577"/>
                  <a:gd name="connsiteX2" fmla="*/ 90168 w 1032395"/>
                  <a:gd name="connsiteY2" fmla="*/ 357763 h 364577"/>
                  <a:gd name="connsiteX3" fmla="*/ 9269 w 1032395"/>
                  <a:gd name="connsiteY3" fmla="*/ 335868 h 364577"/>
                  <a:gd name="connsiteX4" fmla="*/ 39725 w 1032395"/>
                  <a:gd name="connsiteY4" fmla="*/ 247335 h 364577"/>
                  <a:gd name="connsiteX5" fmla="*/ 126334 w 1032395"/>
                  <a:gd name="connsiteY5" fmla="*/ 199737 h 364577"/>
                  <a:gd name="connsiteX6" fmla="*/ 198666 w 1032395"/>
                  <a:gd name="connsiteY6" fmla="*/ 71222 h 364577"/>
                  <a:gd name="connsiteX7" fmla="*/ 250061 w 1032395"/>
                  <a:gd name="connsiteY7" fmla="*/ 776 h 364577"/>
                  <a:gd name="connsiteX8" fmla="*/ 320490 w 1032395"/>
                  <a:gd name="connsiteY8" fmla="*/ 52182 h 364577"/>
                  <a:gd name="connsiteX9" fmla="*/ 418520 w 1032395"/>
                  <a:gd name="connsiteY9" fmla="*/ 170226 h 364577"/>
                  <a:gd name="connsiteX10" fmla="*/ 473721 w 1032395"/>
                  <a:gd name="connsiteY10" fmla="*/ 147379 h 364577"/>
                  <a:gd name="connsiteX11" fmla="*/ 521308 w 1032395"/>
                  <a:gd name="connsiteY11" fmla="*/ 92165 h 364577"/>
                  <a:gd name="connsiteX12" fmla="*/ 588882 w 1032395"/>
                  <a:gd name="connsiteY12" fmla="*/ 125484 h 364577"/>
                  <a:gd name="connsiteX13" fmla="*/ 656456 w 1032395"/>
                  <a:gd name="connsiteY13" fmla="*/ 177842 h 364577"/>
                  <a:gd name="connsiteX14" fmla="*/ 963870 w 1032395"/>
                  <a:gd name="connsiteY14" fmla="*/ 228296 h 364577"/>
                  <a:gd name="connsiteX15" fmla="*/ 1032396 w 1032395"/>
                  <a:gd name="connsiteY15" fmla="*/ 289222 h 364577"/>
                  <a:gd name="connsiteX16" fmla="*/ 966726 w 1032395"/>
                  <a:gd name="connsiteY16" fmla="*/ 349196 h 364577"/>
                  <a:gd name="connsiteX17" fmla="*/ 553668 w 1032395"/>
                  <a:gd name="connsiteY17" fmla="*/ 266375 h 36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32395" h="364577">
                    <a:moveTo>
                      <a:pt x="553668" y="266375"/>
                    </a:moveTo>
                    <a:cubicBezTo>
                      <a:pt x="462300" y="330157"/>
                      <a:pt x="396630" y="317781"/>
                      <a:pt x="280517" y="214969"/>
                    </a:cubicBezTo>
                    <a:cubicBezTo>
                      <a:pt x="232929" y="283510"/>
                      <a:pt x="167259" y="328252"/>
                      <a:pt x="90168" y="357763"/>
                    </a:cubicBezTo>
                    <a:cubicBezTo>
                      <a:pt x="54001" y="372043"/>
                      <a:pt x="25449" y="363475"/>
                      <a:pt x="9269" y="335868"/>
                    </a:cubicBezTo>
                    <a:cubicBezTo>
                      <a:pt x="-10718" y="303501"/>
                      <a:pt x="2607" y="266375"/>
                      <a:pt x="39725" y="247335"/>
                    </a:cubicBezTo>
                    <a:cubicBezTo>
                      <a:pt x="69229" y="232104"/>
                      <a:pt x="98733" y="216872"/>
                      <a:pt x="126334" y="199737"/>
                    </a:cubicBezTo>
                    <a:cubicBezTo>
                      <a:pt x="172969" y="170226"/>
                      <a:pt x="194860" y="125484"/>
                      <a:pt x="198666" y="71222"/>
                    </a:cubicBezTo>
                    <a:cubicBezTo>
                      <a:pt x="201522" y="27431"/>
                      <a:pt x="217701" y="6488"/>
                      <a:pt x="250061" y="776"/>
                    </a:cubicBezTo>
                    <a:cubicBezTo>
                      <a:pt x="280517" y="-3984"/>
                      <a:pt x="304310" y="13152"/>
                      <a:pt x="320490" y="52182"/>
                    </a:cubicBezTo>
                    <a:cubicBezTo>
                      <a:pt x="341428" y="101685"/>
                      <a:pt x="372836" y="141667"/>
                      <a:pt x="418520" y="170226"/>
                    </a:cubicBezTo>
                    <a:cubicBezTo>
                      <a:pt x="452783" y="192121"/>
                      <a:pt x="467059" y="186410"/>
                      <a:pt x="473721" y="147379"/>
                    </a:cubicBezTo>
                    <a:cubicBezTo>
                      <a:pt x="478480" y="118820"/>
                      <a:pt x="491804" y="97876"/>
                      <a:pt x="521308" y="92165"/>
                    </a:cubicBezTo>
                    <a:cubicBezTo>
                      <a:pt x="551764" y="85501"/>
                      <a:pt x="576510" y="96925"/>
                      <a:pt x="588882" y="125484"/>
                    </a:cubicBezTo>
                    <a:cubicBezTo>
                      <a:pt x="602207" y="155946"/>
                      <a:pt x="626952" y="170226"/>
                      <a:pt x="656456" y="177842"/>
                    </a:cubicBezTo>
                    <a:cubicBezTo>
                      <a:pt x="757341" y="204497"/>
                      <a:pt x="858226" y="230200"/>
                      <a:pt x="963870" y="228296"/>
                    </a:cubicBezTo>
                    <a:cubicBezTo>
                      <a:pt x="1004795" y="227344"/>
                      <a:pt x="1032396" y="253999"/>
                      <a:pt x="1032396" y="289222"/>
                    </a:cubicBezTo>
                    <a:cubicBezTo>
                      <a:pt x="1032396" y="323493"/>
                      <a:pt x="1004795" y="347292"/>
                      <a:pt x="966726" y="349196"/>
                    </a:cubicBezTo>
                    <a:cubicBezTo>
                      <a:pt x="849661" y="353956"/>
                      <a:pt x="656456" y="315877"/>
                      <a:pt x="553668" y="266375"/>
                    </a:cubicBezTo>
                    <a:close/>
                  </a:path>
                </a:pathLst>
              </a:custGeom>
              <a:grpFill/>
              <a:ln w="9514"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F252221-00B7-0418-1E55-4386F0B050CF}"/>
                  </a:ext>
                </a:extLst>
              </p:cNvPr>
              <p:cNvSpPr/>
              <p:nvPr/>
            </p:nvSpPr>
            <p:spPr>
              <a:xfrm>
                <a:off x="4265055" y="2670044"/>
                <a:ext cx="971860" cy="122089"/>
              </a:xfrm>
              <a:custGeom>
                <a:avLst/>
                <a:gdLst>
                  <a:gd name="connsiteX0" fmla="*/ 484540 w 971860"/>
                  <a:gd name="connsiteY0" fmla="*/ 122090 h 122089"/>
                  <a:gd name="connsiteX1" fmla="*/ 79096 w 971860"/>
                  <a:gd name="connsiteY1" fmla="*/ 122090 h 122089"/>
                  <a:gd name="connsiteX2" fmla="*/ 34364 w 971860"/>
                  <a:gd name="connsiteY2" fmla="*/ 114474 h 122089"/>
                  <a:gd name="connsiteX3" fmla="*/ 1053 w 971860"/>
                  <a:gd name="connsiteY3" fmla="*/ 50692 h 122089"/>
                  <a:gd name="connsiteX4" fmla="*/ 54351 w 971860"/>
                  <a:gd name="connsiteY4" fmla="*/ 1190 h 122089"/>
                  <a:gd name="connsiteX5" fmla="*/ 140008 w 971860"/>
                  <a:gd name="connsiteY5" fmla="*/ 238 h 122089"/>
                  <a:gd name="connsiteX6" fmla="*/ 880466 w 971860"/>
                  <a:gd name="connsiteY6" fmla="*/ 238 h 122089"/>
                  <a:gd name="connsiteX7" fmla="*/ 909018 w 971860"/>
                  <a:gd name="connsiteY7" fmla="*/ 238 h 122089"/>
                  <a:gd name="connsiteX8" fmla="*/ 971834 w 971860"/>
                  <a:gd name="connsiteY8" fmla="*/ 58308 h 122089"/>
                  <a:gd name="connsiteX9" fmla="*/ 909018 w 971860"/>
                  <a:gd name="connsiteY9" fmla="*/ 121138 h 122089"/>
                  <a:gd name="connsiteX10" fmla="*/ 706297 w 971860"/>
                  <a:gd name="connsiteY10" fmla="*/ 121138 h 122089"/>
                  <a:gd name="connsiteX11" fmla="*/ 484540 w 971860"/>
                  <a:gd name="connsiteY11" fmla="*/ 122090 h 12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1860" h="122089">
                    <a:moveTo>
                      <a:pt x="484540" y="122090"/>
                    </a:moveTo>
                    <a:cubicBezTo>
                      <a:pt x="349392" y="122090"/>
                      <a:pt x="214244" y="122090"/>
                      <a:pt x="79096" y="122090"/>
                    </a:cubicBezTo>
                    <a:cubicBezTo>
                      <a:pt x="63868" y="122090"/>
                      <a:pt x="47688" y="121138"/>
                      <a:pt x="34364" y="114474"/>
                    </a:cubicBezTo>
                    <a:cubicBezTo>
                      <a:pt x="7715" y="103050"/>
                      <a:pt x="-3706" y="79251"/>
                      <a:pt x="1053" y="50692"/>
                    </a:cubicBezTo>
                    <a:cubicBezTo>
                      <a:pt x="5811" y="22133"/>
                      <a:pt x="24846" y="4046"/>
                      <a:pt x="54351" y="1190"/>
                    </a:cubicBezTo>
                    <a:cubicBezTo>
                      <a:pt x="82903" y="-714"/>
                      <a:pt x="111455" y="238"/>
                      <a:pt x="140008" y="238"/>
                    </a:cubicBezTo>
                    <a:cubicBezTo>
                      <a:pt x="386510" y="238"/>
                      <a:pt x="633012" y="238"/>
                      <a:pt x="880466" y="238"/>
                    </a:cubicBezTo>
                    <a:cubicBezTo>
                      <a:pt x="889983" y="238"/>
                      <a:pt x="899501" y="238"/>
                      <a:pt x="909018" y="238"/>
                    </a:cubicBezTo>
                    <a:cubicBezTo>
                      <a:pt x="947088" y="2142"/>
                      <a:pt x="970882" y="24037"/>
                      <a:pt x="971834" y="58308"/>
                    </a:cubicBezTo>
                    <a:cubicBezTo>
                      <a:pt x="972785" y="94483"/>
                      <a:pt x="948040" y="120186"/>
                      <a:pt x="909018" y="121138"/>
                    </a:cubicBezTo>
                    <a:cubicBezTo>
                      <a:pt x="841445" y="122090"/>
                      <a:pt x="773871" y="121138"/>
                      <a:pt x="706297" y="121138"/>
                    </a:cubicBezTo>
                    <a:cubicBezTo>
                      <a:pt x="631109" y="122090"/>
                      <a:pt x="557824" y="122090"/>
                      <a:pt x="484540" y="122090"/>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7680EA1-C7B1-543E-3888-8AC88DDD0774}"/>
                  </a:ext>
                </a:extLst>
              </p:cNvPr>
              <p:cNvSpPr/>
              <p:nvPr/>
            </p:nvSpPr>
            <p:spPr>
              <a:xfrm>
                <a:off x="4264094" y="2427108"/>
                <a:ext cx="971432" cy="122274"/>
              </a:xfrm>
              <a:custGeom>
                <a:avLst/>
                <a:gdLst>
                  <a:gd name="connsiteX0" fmla="*/ 485501 w 971432"/>
                  <a:gd name="connsiteY0" fmla="*/ 423 h 122274"/>
                  <a:gd name="connsiteX1" fmla="*/ 901414 w 971432"/>
                  <a:gd name="connsiteY1" fmla="*/ 423 h 122274"/>
                  <a:gd name="connsiteX2" fmla="*/ 968988 w 971432"/>
                  <a:gd name="connsiteY2" fmla="*/ 45166 h 122274"/>
                  <a:gd name="connsiteX3" fmla="*/ 925207 w 971432"/>
                  <a:gd name="connsiteY3" fmla="*/ 119419 h 122274"/>
                  <a:gd name="connsiteX4" fmla="*/ 889993 w 971432"/>
                  <a:gd name="connsiteY4" fmla="*/ 122275 h 122274"/>
                  <a:gd name="connsiteX5" fmla="*/ 81961 w 971432"/>
                  <a:gd name="connsiteY5" fmla="*/ 122275 h 122274"/>
                  <a:gd name="connsiteX6" fmla="*/ 57215 w 971432"/>
                  <a:gd name="connsiteY6" fmla="*/ 121323 h 122274"/>
                  <a:gd name="connsiteX7" fmla="*/ 110 w 971432"/>
                  <a:gd name="connsiteY7" fmla="*/ 56589 h 122274"/>
                  <a:gd name="connsiteX8" fmla="*/ 61974 w 971432"/>
                  <a:gd name="connsiteY8" fmla="*/ 423 h 122274"/>
                  <a:gd name="connsiteX9" fmla="*/ 378905 w 971432"/>
                  <a:gd name="connsiteY9" fmla="*/ 423 h 122274"/>
                  <a:gd name="connsiteX10" fmla="*/ 485501 w 971432"/>
                  <a:gd name="connsiteY10" fmla="*/ 423 h 12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1432" h="122274">
                    <a:moveTo>
                      <a:pt x="485501" y="423"/>
                    </a:moveTo>
                    <a:cubicBezTo>
                      <a:pt x="624456" y="423"/>
                      <a:pt x="763411" y="423"/>
                      <a:pt x="901414" y="423"/>
                    </a:cubicBezTo>
                    <a:cubicBezTo>
                      <a:pt x="934725" y="423"/>
                      <a:pt x="959470" y="11847"/>
                      <a:pt x="968988" y="45166"/>
                    </a:cubicBezTo>
                    <a:cubicBezTo>
                      <a:pt x="978505" y="78484"/>
                      <a:pt x="959470" y="110851"/>
                      <a:pt x="925207" y="119419"/>
                    </a:cubicBezTo>
                    <a:cubicBezTo>
                      <a:pt x="913787" y="122275"/>
                      <a:pt x="901414" y="122275"/>
                      <a:pt x="889993" y="122275"/>
                    </a:cubicBezTo>
                    <a:cubicBezTo>
                      <a:pt x="620649" y="122275"/>
                      <a:pt x="351305" y="122275"/>
                      <a:pt x="81961" y="122275"/>
                    </a:cubicBezTo>
                    <a:cubicBezTo>
                      <a:pt x="73395" y="122275"/>
                      <a:pt x="64829" y="122275"/>
                      <a:pt x="57215" y="121323"/>
                    </a:cubicBezTo>
                    <a:cubicBezTo>
                      <a:pt x="21049" y="116563"/>
                      <a:pt x="-1793" y="90860"/>
                      <a:pt x="110" y="56589"/>
                    </a:cubicBezTo>
                    <a:cubicBezTo>
                      <a:pt x="2014" y="24222"/>
                      <a:pt x="25808" y="1375"/>
                      <a:pt x="61974" y="423"/>
                    </a:cubicBezTo>
                    <a:cubicBezTo>
                      <a:pt x="167618" y="-529"/>
                      <a:pt x="273262" y="423"/>
                      <a:pt x="378905" y="423"/>
                    </a:cubicBezTo>
                    <a:cubicBezTo>
                      <a:pt x="414120" y="423"/>
                      <a:pt x="450286" y="423"/>
                      <a:pt x="485501" y="423"/>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881E099-BD7D-76CA-846F-CD8F9BEE64B3}"/>
                  </a:ext>
                </a:extLst>
              </p:cNvPr>
              <p:cNvSpPr/>
              <p:nvPr/>
            </p:nvSpPr>
            <p:spPr>
              <a:xfrm>
                <a:off x="4266005" y="2183827"/>
                <a:ext cx="970857" cy="121851"/>
              </a:xfrm>
              <a:custGeom>
                <a:avLst/>
                <a:gdLst>
                  <a:gd name="connsiteX0" fmla="*/ 486445 w 970857"/>
                  <a:gd name="connsiteY0" fmla="*/ 0 h 121851"/>
                  <a:gd name="connsiteX1" fmla="*/ 895695 w 970857"/>
                  <a:gd name="connsiteY1" fmla="*/ 0 h 121851"/>
                  <a:gd name="connsiteX2" fmla="*/ 967076 w 970857"/>
                  <a:gd name="connsiteY2" fmla="*/ 40935 h 121851"/>
                  <a:gd name="connsiteX3" fmla="*/ 925200 w 970857"/>
                  <a:gd name="connsiteY3" fmla="*/ 118044 h 121851"/>
                  <a:gd name="connsiteX4" fmla="*/ 883323 w 970857"/>
                  <a:gd name="connsiteY4" fmla="*/ 121852 h 121851"/>
                  <a:gd name="connsiteX5" fmla="*/ 86711 w 970857"/>
                  <a:gd name="connsiteY5" fmla="*/ 121852 h 121851"/>
                  <a:gd name="connsiteX6" fmla="*/ 61966 w 970857"/>
                  <a:gd name="connsiteY6" fmla="*/ 121852 h 121851"/>
                  <a:gd name="connsiteX7" fmla="*/ 103 w 970857"/>
                  <a:gd name="connsiteY7" fmla="*/ 58070 h 121851"/>
                  <a:gd name="connsiteX8" fmla="*/ 64821 w 970857"/>
                  <a:gd name="connsiteY8" fmla="*/ 952 h 121851"/>
                  <a:gd name="connsiteX9" fmla="*/ 292289 w 970857"/>
                  <a:gd name="connsiteY9" fmla="*/ 952 h 121851"/>
                  <a:gd name="connsiteX10" fmla="*/ 486445 w 970857"/>
                  <a:gd name="connsiteY10" fmla="*/ 0 h 12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0857" h="121851">
                    <a:moveTo>
                      <a:pt x="486445" y="0"/>
                    </a:moveTo>
                    <a:cubicBezTo>
                      <a:pt x="622544" y="0"/>
                      <a:pt x="759596" y="0"/>
                      <a:pt x="895695" y="0"/>
                    </a:cubicBezTo>
                    <a:cubicBezTo>
                      <a:pt x="928055" y="0"/>
                      <a:pt x="954704" y="7616"/>
                      <a:pt x="967076" y="40935"/>
                    </a:cubicBezTo>
                    <a:cubicBezTo>
                      <a:pt x="979449" y="75205"/>
                      <a:pt x="960414" y="109476"/>
                      <a:pt x="925200" y="118044"/>
                    </a:cubicBezTo>
                    <a:cubicBezTo>
                      <a:pt x="911875" y="121852"/>
                      <a:pt x="896647" y="121852"/>
                      <a:pt x="883323" y="121852"/>
                    </a:cubicBezTo>
                    <a:cubicBezTo>
                      <a:pt x="617786" y="121852"/>
                      <a:pt x="352249" y="121852"/>
                      <a:pt x="86711" y="121852"/>
                    </a:cubicBezTo>
                    <a:cubicBezTo>
                      <a:pt x="78146" y="121852"/>
                      <a:pt x="70532" y="121852"/>
                      <a:pt x="61966" y="121852"/>
                    </a:cubicBezTo>
                    <a:cubicBezTo>
                      <a:pt x="22945" y="118044"/>
                      <a:pt x="-1801" y="92341"/>
                      <a:pt x="103" y="58070"/>
                    </a:cubicBezTo>
                    <a:cubicBezTo>
                      <a:pt x="2006" y="23799"/>
                      <a:pt x="25800" y="1904"/>
                      <a:pt x="64821" y="952"/>
                    </a:cubicBezTo>
                    <a:cubicBezTo>
                      <a:pt x="140961" y="0"/>
                      <a:pt x="216149" y="952"/>
                      <a:pt x="292289" y="952"/>
                    </a:cubicBezTo>
                    <a:cubicBezTo>
                      <a:pt x="356055" y="0"/>
                      <a:pt x="420774" y="0"/>
                      <a:pt x="486445" y="0"/>
                    </a:cubicBezTo>
                    <a:close/>
                  </a:path>
                </a:pathLst>
              </a:custGeom>
              <a:grpFill/>
              <a:ln w="9514"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A8A9451-8519-4B37-C165-90E287A99719}"/>
                  </a:ext>
                </a:extLst>
              </p:cNvPr>
              <p:cNvSpPr/>
              <p:nvPr/>
            </p:nvSpPr>
            <p:spPr>
              <a:xfrm>
                <a:off x="5724179" y="1879195"/>
                <a:ext cx="970796" cy="972915"/>
              </a:xfrm>
              <a:custGeom>
                <a:avLst/>
                <a:gdLst>
                  <a:gd name="connsiteX0" fmla="*/ 484442 w 970796"/>
                  <a:gd name="connsiteY0" fmla="*/ 972913 h 972915"/>
                  <a:gd name="connsiteX1" fmla="*/ 3 w 970796"/>
                  <a:gd name="connsiteY1" fmla="*/ 484554 h 972915"/>
                  <a:gd name="connsiteX2" fmla="*/ 488249 w 970796"/>
                  <a:gd name="connsiteY2" fmla="*/ 3 h 972915"/>
                  <a:gd name="connsiteX3" fmla="*/ 970784 w 970796"/>
                  <a:gd name="connsiteY3" fmla="*/ 490266 h 972915"/>
                  <a:gd name="connsiteX4" fmla="*/ 484442 w 970796"/>
                  <a:gd name="connsiteY4" fmla="*/ 972913 h 972915"/>
                  <a:gd name="connsiteX5" fmla="*/ 485394 w 970796"/>
                  <a:gd name="connsiteY5" fmla="*/ 851061 h 972915"/>
                  <a:gd name="connsiteX6" fmla="*/ 849912 w 970796"/>
                  <a:gd name="connsiteY6" fmla="*/ 487410 h 972915"/>
                  <a:gd name="connsiteX7" fmla="*/ 485394 w 970796"/>
                  <a:gd name="connsiteY7" fmla="*/ 122807 h 972915"/>
                  <a:gd name="connsiteX8" fmla="*/ 120875 w 970796"/>
                  <a:gd name="connsiteY8" fmla="*/ 487410 h 972915"/>
                  <a:gd name="connsiteX9" fmla="*/ 485394 w 970796"/>
                  <a:gd name="connsiteY9" fmla="*/ 851061 h 97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0796" h="972915">
                    <a:moveTo>
                      <a:pt x="484442" y="972913"/>
                    </a:moveTo>
                    <a:cubicBezTo>
                      <a:pt x="215098" y="971961"/>
                      <a:pt x="-949" y="753961"/>
                      <a:pt x="3" y="484554"/>
                    </a:cubicBezTo>
                    <a:cubicBezTo>
                      <a:pt x="955" y="215148"/>
                      <a:pt x="218905" y="-949"/>
                      <a:pt x="488249" y="3"/>
                    </a:cubicBezTo>
                    <a:cubicBezTo>
                      <a:pt x="757593" y="955"/>
                      <a:pt x="972687" y="219907"/>
                      <a:pt x="970784" y="490266"/>
                    </a:cubicBezTo>
                    <a:cubicBezTo>
                      <a:pt x="969832" y="757768"/>
                      <a:pt x="751882" y="973865"/>
                      <a:pt x="484442" y="972913"/>
                    </a:cubicBezTo>
                    <a:close/>
                    <a:moveTo>
                      <a:pt x="485394" y="851061"/>
                    </a:moveTo>
                    <a:cubicBezTo>
                      <a:pt x="687163" y="851061"/>
                      <a:pt x="849912" y="689227"/>
                      <a:pt x="849912" y="487410"/>
                    </a:cubicBezTo>
                    <a:cubicBezTo>
                      <a:pt x="849912" y="285593"/>
                      <a:pt x="687163" y="122807"/>
                      <a:pt x="485394" y="122807"/>
                    </a:cubicBezTo>
                    <a:cubicBezTo>
                      <a:pt x="284575" y="122807"/>
                      <a:pt x="120875" y="285593"/>
                      <a:pt x="120875" y="487410"/>
                    </a:cubicBezTo>
                    <a:cubicBezTo>
                      <a:pt x="120875" y="689227"/>
                      <a:pt x="282671" y="851061"/>
                      <a:pt x="485394" y="851061"/>
                    </a:cubicBezTo>
                    <a:close/>
                  </a:path>
                </a:pathLst>
              </a:custGeom>
              <a:grpFill/>
              <a:ln w="951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149900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DE5AB05-C317-CB5A-D1DA-B3A9897E397D}"/>
              </a:ext>
            </a:extLst>
          </p:cNvPr>
          <p:cNvSpPr>
            <a:spLocks noGrp="1"/>
          </p:cNvSpPr>
          <p:nvPr>
            <p:ph type="body" sz="quarter" idx="30"/>
          </p:nvPr>
        </p:nvSpPr>
        <p:spPr>
          <a:xfrm>
            <a:off x="5060561" y="288340"/>
            <a:ext cx="6606945" cy="845139"/>
          </a:xfrm>
        </p:spPr>
        <p:txBody>
          <a:bodyPr/>
          <a:lstStyle/>
          <a:p>
            <a:r>
              <a:rPr lang="en-IE" dirty="0"/>
              <a:t>Aufbau ethischer Kompetenzen im Unternehmertum</a:t>
            </a:r>
          </a:p>
          <a:p>
            <a:endParaRPr lang="en-IE" dirty="0"/>
          </a:p>
        </p:txBody>
      </p:sp>
      <p:sp>
        <p:nvSpPr>
          <p:cNvPr id="4" name="Text Placeholder 3">
            <a:extLst>
              <a:ext uri="{FF2B5EF4-FFF2-40B4-BE49-F238E27FC236}">
                <a16:creationId xmlns:a16="http://schemas.microsoft.com/office/drawing/2014/main" id="{66495222-68F6-E4A1-30E3-F226E988CB13}"/>
              </a:ext>
            </a:extLst>
          </p:cNvPr>
          <p:cNvSpPr>
            <a:spLocks noGrp="1"/>
          </p:cNvSpPr>
          <p:nvPr>
            <p:ph type="body" sz="quarter" idx="48"/>
          </p:nvPr>
        </p:nvSpPr>
        <p:spPr>
          <a:xfrm>
            <a:off x="5060561" y="1588838"/>
            <a:ext cx="6499468" cy="3466570"/>
          </a:xfrm>
        </p:spPr>
        <p:txBody>
          <a:bodyPr/>
          <a:lstStyle/>
          <a:p>
            <a:pPr algn="just">
              <a:spcAft>
                <a:spcPts val="600"/>
              </a:spcAft>
            </a:pPr>
            <a:r>
              <a:rPr lang="en-GB" sz="2000" dirty="0"/>
              <a:t>Ethisches Unternehmertum geht über Rentabilität hinaus; es verkörpert eine Verpflichtung zu Integrität, Nachhaltigkeit und gesellschaftlicher Wirkung. </a:t>
            </a:r>
          </a:p>
          <a:p>
            <a:pPr algn="just">
              <a:spcAft>
                <a:spcPts val="600"/>
              </a:spcAft>
            </a:pPr>
            <a:r>
              <a:rPr lang="en-GB" sz="2000" dirty="0"/>
              <a:t>Dieser Abschnitt fördert die Entwicklung von Kompetenzen, die es Unternehmern ermöglichen, ethische Herausforderungen zu meistern, prinzipientreue Entscheidungen zu treffen und Unternehmen aufzubauen, die einen positiven Beitrag zu Wirtschaft und Gesellschaft leisten. </a:t>
            </a:r>
          </a:p>
          <a:p>
            <a:pPr algn="just">
              <a:spcAft>
                <a:spcPts val="600"/>
              </a:spcAft>
            </a:pPr>
            <a:r>
              <a:rPr lang="en-GB" sz="2000" dirty="0"/>
              <a:t>Durch den Einsatz dieser Kompetenzen werden die Lernenden in die Lage versetzt, ethische Überlegungen in ihre unternehmerischen Unternehmungen einzubeziehen, Vertrauen zwischen den Beteiligten zu schaffen und nachhaltiges Wachstum zu fördern.</a:t>
            </a:r>
            <a:endParaRPr lang="en-IE" sz="2000" dirty="0"/>
          </a:p>
          <a:p>
            <a:pPr>
              <a:spcAft>
                <a:spcPts val="600"/>
              </a:spcAft>
            </a:pPr>
            <a:endParaRPr lang="en-IE" sz="2000" dirty="0"/>
          </a:p>
        </p:txBody>
      </p:sp>
      <p:pic>
        <p:nvPicPr>
          <p:cNvPr id="2" name="Picture Placeholder 5">
            <a:extLst>
              <a:ext uri="{FF2B5EF4-FFF2-40B4-BE49-F238E27FC236}">
                <a16:creationId xmlns:a16="http://schemas.microsoft.com/office/drawing/2014/main" id="{2074848E-E4C0-DE9A-2EA9-D613C3F7D444}"/>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464" b="464"/>
          <a:stretch/>
        </p:blipFill>
        <p:spPr>
          <a:xfrm>
            <a:off x="0" y="0"/>
            <a:ext cx="4614863" cy="6858000"/>
          </a:xfrm>
        </p:spPr>
      </p:pic>
    </p:spTree>
    <p:extLst>
      <p:ext uri="{BB962C8B-B14F-4D97-AF65-F5344CB8AC3E}">
        <p14:creationId xmlns:p14="http://schemas.microsoft.com/office/powerpoint/2010/main" val="2280792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270E92-3AFF-A72B-09E8-8CE2D0A4392D}"/>
              </a:ext>
            </a:extLst>
          </p:cNvPr>
          <p:cNvSpPr>
            <a:spLocks noGrp="1"/>
          </p:cNvSpPr>
          <p:nvPr>
            <p:ph type="body" sz="quarter" idx="49"/>
          </p:nvPr>
        </p:nvSpPr>
        <p:spPr>
          <a:xfrm>
            <a:off x="3506327" y="282584"/>
            <a:ext cx="7545968" cy="730066"/>
          </a:xfrm>
        </p:spPr>
        <p:txBody>
          <a:bodyPr/>
          <a:lstStyle/>
          <a:p>
            <a:r>
              <a:rPr lang="en-GB" sz="2400" dirty="0"/>
              <a:t>Förderung eines nachhaltigen Unternehmenswachstums</a:t>
            </a:r>
            <a:endParaRPr lang="en-IE" sz="2400" dirty="0"/>
          </a:p>
        </p:txBody>
      </p:sp>
      <p:sp>
        <p:nvSpPr>
          <p:cNvPr id="3" name="Text Placeholder 2">
            <a:extLst>
              <a:ext uri="{FF2B5EF4-FFF2-40B4-BE49-F238E27FC236}">
                <a16:creationId xmlns:a16="http://schemas.microsoft.com/office/drawing/2014/main" id="{6CE5792B-C612-C36D-02AB-702F145C0478}"/>
              </a:ext>
            </a:extLst>
          </p:cNvPr>
          <p:cNvSpPr>
            <a:spLocks noGrp="1"/>
          </p:cNvSpPr>
          <p:nvPr>
            <p:ph type="body" sz="quarter" idx="50"/>
          </p:nvPr>
        </p:nvSpPr>
        <p:spPr>
          <a:xfrm>
            <a:off x="3530689" y="877896"/>
            <a:ext cx="7757675" cy="945874"/>
          </a:xfrm>
        </p:spPr>
        <p:txBody>
          <a:bodyPr/>
          <a:lstStyle/>
          <a:p>
            <a:r>
              <a:rPr lang="en-GB" sz="1800" dirty="0"/>
              <a:t>Integration sozialer und ökologischer Erwägungen in Geschäftsstrategien, um langfristigen Wert und Widerstandsfähigkeit zu schaffen. Einführung von Praktiken, die sich auf das Wohlergehen der Stakeholder konzentrieren und einen positiven Beitrag zur gesellschaftlichen und ökologischen Nachhaltigkeit leisten.</a:t>
            </a:r>
            <a:endParaRPr lang="en-IE" sz="1800" dirty="0"/>
          </a:p>
        </p:txBody>
      </p:sp>
      <p:sp>
        <p:nvSpPr>
          <p:cNvPr id="4" name="Text Placeholder 3">
            <a:extLst>
              <a:ext uri="{FF2B5EF4-FFF2-40B4-BE49-F238E27FC236}">
                <a16:creationId xmlns:a16="http://schemas.microsoft.com/office/drawing/2014/main" id="{CB72171A-6BEA-7DB4-ED65-73E34AED83D0}"/>
              </a:ext>
            </a:extLst>
          </p:cNvPr>
          <p:cNvSpPr>
            <a:spLocks noGrp="1"/>
          </p:cNvSpPr>
          <p:nvPr>
            <p:ph type="body" sz="quarter" idx="51"/>
          </p:nvPr>
        </p:nvSpPr>
        <p:spPr>
          <a:xfrm>
            <a:off x="3506327" y="2357458"/>
            <a:ext cx="7160276" cy="730066"/>
          </a:xfrm>
        </p:spPr>
        <p:txBody>
          <a:bodyPr/>
          <a:lstStyle/>
          <a:p>
            <a:r>
              <a:rPr lang="en-GB" sz="2400" dirty="0" err="1"/>
              <a:t>Soziale</a:t>
            </a:r>
            <a:r>
              <a:rPr lang="en-GB" sz="2400" dirty="0"/>
              <a:t> Verantwortung</a:t>
            </a:r>
            <a:endParaRPr lang="en-IE" sz="2400" dirty="0"/>
          </a:p>
        </p:txBody>
      </p:sp>
      <p:sp>
        <p:nvSpPr>
          <p:cNvPr id="5" name="Text Placeholder 4">
            <a:extLst>
              <a:ext uri="{FF2B5EF4-FFF2-40B4-BE49-F238E27FC236}">
                <a16:creationId xmlns:a16="http://schemas.microsoft.com/office/drawing/2014/main" id="{E7F130F1-AFA1-7184-442C-FCFC417F7375}"/>
              </a:ext>
            </a:extLst>
          </p:cNvPr>
          <p:cNvSpPr>
            <a:spLocks noGrp="1"/>
          </p:cNvSpPr>
          <p:nvPr>
            <p:ph type="body" sz="quarter" idx="52"/>
          </p:nvPr>
        </p:nvSpPr>
        <p:spPr>
          <a:xfrm>
            <a:off x="3530690" y="2956063"/>
            <a:ext cx="7929305" cy="945874"/>
          </a:xfrm>
        </p:spPr>
        <p:txBody>
          <a:bodyPr/>
          <a:lstStyle/>
          <a:p>
            <a:r>
              <a:rPr lang="en-GB" sz="1800" dirty="0"/>
              <a:t>Wahrung der Grundsätze der Vielfalt, Gleichberechtigung und Einbeziehung innerhalb des organisatorischen Rahmens. Engagieren Sie sich in Initiativen, die die Entwicklung des Gemeinwesens unterstützen, integrative Arbeitsplätze schaffen und das gesellschaftliche Wohlergehen verbessern.</a:t>
            </a:r>
            <a:endParaRPr lang="en-IE" sz="1800" dirty="0"/>
          </a:p>
        </p:txBody>
      </p:sp>
      <p:sp>
        <p:nvSpPr>
          <p:cNvPr id="6" name="Text Placeholder 5">
            <a:extLst>
              <a:ext uri="{FF2B5EF4-FFF2-40B4-BE49-F238E27FC236}">
                <a16:creationId xmlns:a16="http://schemas.microsoft.com/office/drawing/2014/main" id="{87F9A46B-9921-1114-7803-7713611DD46A}"/>
              </a:ext>
            </a:extLst>
          </p:cNvPr>
          <p:cNvSpPr>
            <a:spLocks noGrp="1"/>
          </p:cNvSpPr>
          <p:nvPr>
            <p:ph type="body" sz="quarter" idx="54"/>
          </p:nvPr>
        </p:nvSpPr>
        <p:spPr>
          <a:xfrm>
            <a:off x="3518508" y="4604263"/>
            <a:ext cx="7160276" cy="730066"/>
          </a:xfrm>
        </p:spPr>
        <p:txBody>
          <a:bodyPr/>
          <a:lstStyle/>
          <a:p>
            <a:r>
              <a:rPr lang="en-GB" sz="2400" b="1" dirty="0"/>
              <a:t>Umfassende Verantwortung für die Umwelt</a:t>
            </a:r>
            <a:endParaRPr lang="en-IE" sz="2400" dirty="0"/>
          </a:p>
        </p:txBody>
      </p:sp>
      <p:sp>
        <p:nvSpPr>
          <p:cNvPr id="7" name="Text Placeholder 6">
            <a:extLst>
              <a:ext uri="{FF2B5EF4-FFF2-40B4-BE49-F238E27FC236}">
                <a16:creationId xmlns:a16="http://schemas.microsoft.com/office/drawing/2014/main" id="{3AD6096D-9A22-8EF3-DEF4-1DC153C19F62}"/>
              </a:ext>
            </a:extLst>
          </p:cNvPr>
          <p:cNvSpPr>
            <a:spLocks noGrp="1"/>
          </p:cNvSpPr>
          <p:nvPr>
            <p:ph type="body" sz="quarter" idx="55"/>
          </p:nvPr>
        </p:nvSpPr>
        <p:spPr>
          <a:xfrm>
            <a:off x="3542871" y="5135549"/>
            <a:ext cx="7757675" cy="945874"/>
          </a:xfrm>
        </p:spPr>
        <p:txBody>
          <a:bodyPr/>
          <a:lstStyle/>
          <a:p>
            <a:r>
              <a:rPr lang="en-GB" sz="1800" dirty="0"/>
              <a:t>Umsetzung von Maßnahmen zur Verringerung der Umweltbelastung, zur Förderung der Ressourceneffizienz und zur Unterstützung von Umweltschutzmaßnahmen. Proaktives Angehen von Umweltproblemen durch innovative Lösungen und nachhaltige Praktiken.</a:t>
            </a:r>
            <a:endParaRPr lang="en-IE" sz="1800" dirty="0"/>
          </a:p>
        </p:txBody>
      </p:sp>
      <p:pic>
        <p:nvPicPr>
          <p:cNvPr id="16" name="Picture Placeholder 15" descr="Person holding grassy sphere">
            <a:extLst>
              <a:ext uri="{FF2B5EF4-FFF2-40B4-BE49-F238E27FC236}">
                <a16:creationId xmlns:a16="http://schemas.microsoft.com/office/drawing/2014/main" id="{5BF08974-BF88-66F6-1010-74E5640CF77D}"/>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l="11862" r="11862"/>
          <a:stretch>
            <a:fillRect/>
          </a:stretch>
        </p:blipFill>
        <p:spPr>
          <a:ln>
            <a:solidFill>
              <a:srgbClr val="0F486D"/>
            </a:solidFill>
          </a:ln>
        </p:spPr>
      </p:pic>
      <p:pic>
        <p:nvPicPr>
          <p:cNvPr id="14" name="Picture Placeholder 13" descr="Paper chain people and their shadows">
            <a:extLst>
              <a:ext uri="{FF2B5EF4-FFF2-40B4-BE49-F238E27FC236}">
                <a16:creationId xmlns:a16="http://schemas.microsoft.com/office/drawing/2014/main" id="{32676B36-9EFE-5042-C854-F9FF74542152}"/>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62" r="11862"/>
          <a:stretch>
            <a:fillRect/>
          </a:stretch>
        </p:blipFill>
        <p:spPr>
          <a:ln>
            <a:solidFill>
              <a:srgbClr val="0F486D"/>
            </a:solidFill>
          </a:ln>
        </p:spPr>
      </p:pic>
      <p:pic>
        <p:nvPicPr>
          <p:cNvPr id="12" name="Picture Placeholder 11" descr="Green flag by the beach">
            <a:extLst>
              <a:ext uri="{FF2B5EF4-FFF2-40B4-BE49-F238E27FC236}">
                <a16:creationId xmlns:a16="http://schemas.microsoft.com/office/drawing/2014/main" id="{A561ACD7-4564-BD9D-B66B-07A1BF2F9199}"/>
              </a:ext>
            </a:extLst>
          </p:cNvPr>
          <p:cNvPicPr>
            <a:picLocks noGrp="1" noChangeAspect="1"/>
          </p:cNvPicPr>
          <p:nvPr>
            <p:ph type="pic" sz="quarter" idx="57"/>
          </p:nvPr>
        </p:nvPicPr>
        <p:blipFill>
          <a:blip r:embed="rId4" cstate="email">
            <a:extLst>
              <a:ext uri="{28A0092B-C50C-407E-A947-70E740481C1C}">
                <a14:useLocalDpi xmlns:a14="http://schemas.microsoft.com/office/drawing/2010/main"/>
              </a:ext>
            </a:extLst>
          </a:blip>
          <a:srcRect l="11862" r="11862"/>
          <a:stretch>
            <a:fillRect/>
          </a:stretch>
        </p:blipFill>
        <p:spPr>
          <a:ln>
            <a:solidFill>
              <a:srgbClr val="0F486D"/>
            </a:solidFill>
          </a:ln>
        </p:spPr>
      </p:pic>
    </p:spTree>
    <p:extLst>
      <p:ext uri="{BB962C8B-B14F-4D97-AF65-F5344CB8AC3E}">
        <p14:creationId xmlns:p14="http://schemas.microsoft.com/office/powerpoint/2010/main" val="3128281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10F1509-905C-A35B-701E-A9A77F3C4298}"/>
              </a:ext>
            </a:extLst>
          </p:cNvPr>
          <p:cNvGraphicFramePr>
            <a:graphicFrameLocks noChangeAspect="1"/>
          </p:cNvGraphicFramePr>
          <p:nvPr>
            <p:custDataLst>
              <p:tags r:id="rId1"/>
            </p:custDataLst>
            <p:extLst>
              <p:ext uri="{D42A27DB-BD31-4B8C-83A1-F6EECF244321}">
                <p14:modId xmlns:p14="http://schemas.microsoft.com/office/powerpoint/2010/main" val="185067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7">
            <a:extLst>
              <a:ext uri="{FF2B5EF4-FFF2-40B4-BE49-F238E27FC236}">
                <a16:creationId xmlns:a16="http://schemas.microsoft.com/office/drawing/2014/main" id="{0E496726-F0B3-A18C-BF4D-6569881E9CB7}"/>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t="4228" b="4228"/>
          <a:stretch/>
        </p:blipFill>
        <p:spPr>
          <a:xfrm>
            <a:off x="884238" y="0"/>
            <a:ext cx="4994275" cy="6858000"/>
          </a:xfrm>
        </p:spPr>
      </p:pic>
      <p:sp>
        <p:nvSpPr>
          <p:cNvPr id="3" name="Text Placeholder 2">
            <a:extLst>
              <a:ext uri="{FF2B5EF4-FFF2-40B4-BE49-F238E27FC236}">
                <a16:creationId xmlns:a16="http://schemas.microsoft.com/office/drawing/2014/main" id="{A69C84D3-DAB8-A256-725D-6358D9E3C675}"/>
              </a:ext>
            </a:extLst>
          </p:cNvPr>
          <p:cNvSpPr>
            <a:spLocks noGrp="1"/>
          </p:cNvSpPr>
          <p:nvPr>
            <p:ph type="body" sz="quarter" idx="30"/>
          </p:nvPr>
        </p:nvSpPr>
        <p:spPr>
          <a:xfrm>
            <a:off x="4890795" y="385894"/>
            <a:ext cx="6776598" cy="1195771"/>
          </a:xfrm>
        </p:spPr>
        <p:txBody>
          <a:bodyPr/>
          <a:lstStyle/>
          <a:p>
            <a:r>
              <a:rPr lang="en-IE" dirty="0"/>
              <a:t>Best Practice: </a:t>
            </a:r>
            <a:br>
              <a:rPr lang="en-IE" dirty="0"/>
            </a:br>
            <a:r>
              <a:rPr lang="en-IE" dirty="0"/>
              <a:t>DIE NU COMPANY GMBH</a:t>
            </a:r>
          </a:p>
        </p:txBody>
      </p:sp>
      <p:sp>
        <p:nvSpPr>
          <p:cNvPr id="4" name="Text Placeholder 3">
            <a:extLst>
              <a:ext uri="{FF2B5EF4-FFF2-40B4-BE49-F238E27FC236}">
                <a16:creationId xmlns:a16="http://schemas.microsoft.com/office/drawing/2014/main" id="{D763B87B-2E45-7F3C-D8C8-7BD1498202C7}"/>
              </a:ext>
            </a:extLst>
          </p:cNvPr>
          <p:cNvSpPr>
            <a:spLocks noGrp="1"/>
          </p:cNvSpPr>
          <p:nvPr>
            <p:ph type="body" sz="quarter" idx="48"/>
          </p:nvPr>
        </p:nvSpPr>
        <p:spPr>
          <a:xfrm>
            <a:off x="6448813" y="1845579"/>
            <a:ext cx="4993772" cy="4062086"/>
          </a:xfrm>
        </p:spPr>
        <p:txBody>
          <a:bodyPr/>
          <a:lstStyle/>
          <a:p>
            <a:pPr algn="just">
              <a:lnSpc>
                <a:spcPct val="107000"/>
              </a:lnSpc>
              <a:spcAft>
                <a:spcPts val="800"/>
              </a:spcAft>
            </a:pPr>
            <a:r>
              <a:rPr lang="en-IE" sz="20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6">
                  <a:extLst>
                    <a:ext uri="{A12FA001-AC4F-418D-AE19-62706E023703}">
                      <ahyp:hlinkClr xmlns:ahyp="http://schemas.microsoft.com/office/drawing/2018/hyperlinkcolor" val="tx"/>
                    </a:ext>
                  </a:extLst>
                </a:hlinkClick>
              </a:rPr>
              <a:t>Die nu company GmbH </a:t>
            </a:r>
            <a:r>
              <a:rPr lang="en-IE" sz="2000" kern="100" dirty="0">
                <a:effectLst/>
                <a:latin typeface="Calibri" panose="020F0502020204030204" pitchFamily="34" charset="0"/>
                <a:ea typeface="Calibri" panose="020F0502020204030204" pitchFamily="34" charset="0"/>
                <a:cs typeface="Times New Roman" panose="02020603050405020304" pitchFamily="18" charset="0"/>
              </a:rPr>
              <a:t>ist führend bei nachhaltigen Verpackungen mit kompostierbaren Materialien wie Maisstärke und Zuckerrohr. </a:t>
            </a:r>
          </a:p>
          <a:p>
            <a:pPr algn="just">
              <a:lnSpc>
                <a:spcPct val="107000"/>
              </a:lnSpc>
              <a:spcAft>
                <a:spcPts val="800"/>
              </a:spcAft>
            </a:pPr>
            <a:r>
              <a:rPr lang="en-IE" sz="2000" kern="100" dirty="0">
                <a:effectLst/>
                <a:latin typeface="Calibri" panose="020F0502020204030204" pitchFamily="34" charset="0"/>
                <a:ea typeface="Calibri" panose="020F0502020204030204" pitchFamily="34" charset="0"/>
                <a:cs typeface="Times New Roman" panose="02020603050405020304" pitchFamily="18" charset="0"/>
              </a:rPr>
              <a:t>Ihre Praktiken stehen im Einklang mit ethischen Geschäftsprinzipien und zeugen von einem Engagement für langfristige ökologische Nachhaltigkeit. </a:t>
            </a:r>
          </a:p>
        </p:txBody>
      </p:sp>
      <p:pic>
        <p:nvPicPr>
          <p:cNvPr id="5" name="Picture 4">
            <a:extLst>
              <a:ext uri="{FF2B5EF4-FFF2-40B4-BE49-F238E27FC236}">
                <a16:creationId xmlns:a16="http://schemas.microsoft.com/office/drawing/2014/main" id="{97774220-F64F-4F6A-AD6A-CC9FCF68DEB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47721" y="4861736"/>
            <a:ext cx="3995956" cy="1610370"/>
          </a:xfrm>
          <a:prstGeom prst="rect">
            <a:avLst/>
          </a:prstGeom>
        </p:spPr>
      </p:pic>
    </p:spTree>
    <p:extLst>
      <p:ext uri="{BB962C8B-B14F-4D97-AF65-F5344CB8AC3E}">
        <p14:creationId xmlns:p14="http://schemas.microsoft.com/office/powerpoint/2010/main" val="28447640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2C3960-840E-3973-FCD8-4ABF8E80BCA7}"/>
              </a:ext>
            </a:extLst>
          </p:cNvPr>
          <p:cNvSpPr>
            <a:spLocks noGrp="1"/>
          </p:cNvSpPr>
          <p:nvPr>
            <p:ph type="body" sz="quarter" idx="48"/>
          </p:nvPr>
        </p:nvSpPr>
        <p:spPr>
          <a:xfrm>
            <a:off x="6544912" y="645952"/>
            <a:ext cx="4939670" cy="5440815"/>
          </a:xfrm>
        </p:spPr>
        <p:txBody>
          <a:bodyPr/>
          <a:lstStyle/>
          <a:p>
            <a:pPr algn="just">
              <a:lnSpc>
                <a:spcPct val="107000"/>
              </a:lnSpc>
              <a:spcAft>
                <a:spcPts val="8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Durch den Einsatz innovativer, kompostierbarer Verpackungslösungen zeigt </a:t>
            </a: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die nu company GmbH</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 wie nachhaltige Praktiken in Produktdesign und Produktion integriert werden können. Ihr Fokus auf Umweltverantwortung und die Ausrichtung auf den Triple Bottom Line (TBL) Ansatz unterstreicht ihr Engagement für eine nachhaltige Zukunft.</a:t>
            </a:r>
          </a:p>
          <a:p>
            <a:pPr algn="just">
              <a:lnSpc>
                <a:spcPct val="107000"/>
              </a:lnSpc>
              <a:spcAft>
                <a:spcPts val="8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Erfahren Sie mehr über die nachhaltigen Praktiken </a:t>
            </a: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von The nu company</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 indem Sie </a:t>
            </a:r>
            <a:r>
              <a:rPr lang="en-IE" sz="2200" kern="100" dirty="0" err="1">
                <a:effectLst/>
                <a:latin typeface="Calibri" panose="020F0502020204030204" pitchFamily="34" charset="0"/>
                <a:ea typeface="Calibri" panose="020F0502020204030204" pitchFamily="34" charset="0"/>
                <a:cs typeface="Times New Roman" panose="02020603050405020304" pitchFamily="18" charset="0"/>
              </a:rPr>
              <a:t>unser</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 </a:t>
            </a:r>
            <a:r>
              <a:rPr lang="en-IE" sz="2200" kern="100" dirty="0" err="1">
                <a:effectLst/>
                <a:latin typeface="Calibri" panose="020F0502020204030204" pitchFamily="34" charset="0"/>
                <a:ea typeface="Calibri" panose="020F0502020204030204" pitchFamily="34" charset="0"/>
                <a:cs typeface="Times New Roman" panose="02020603050405020304" pitchFamily="18" charset="0"/>
              </a:rPr>
              <a:t>Fallstudien</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 </a:t>
            </a:r>
            <a:r>
              <a:rPr lang="en-IE" sz="2200" b="1" kern="100" dirty="0" err="1">
                <a:effectLst/>
                <a:ea typeface="Calibri" panose="020F0502020204030204" pitchFamily="34" charset="0"/>
                <a:cs typeface="Times New Roman" panose="02020603050405020304" pitchFamily="18" charset="0"/>
                <a:hlinkClick r:id="rId3"/>
              </a:rPr>
              <a:t>Kompendium</a:t>
            </a:r>
            <a:r>
              <a:rPr lang="en-IE" sz="2200" b="1" kern="100" dirty="0">
                <a:effectLst/>
                <a:ea typeface="Calibri" panose="020F0502020204030204" pitchFamily="34" charset="0"/>
                <a:cs typeface="Times New Roman" panose="02020603050405020304" pitchFamily="18" charset="0"/>
                <a:hlinkClick r:id="rId3"/>
              </a:rPr>
              <a:t>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besuchen. </a:t>
            </a:r>
          </a:p>
        </p:txBody>
      </p:sp>
      <p:pic>
        <p:nvPicPr>
          <p:cNvPr id="2" name="Picture Placeholder 5">
            <a:extLst>
              <a:ext uri="{FF2B5EF4-FFF2-40B4-BE49-F238E27FC236}">
                <a16:creationId xmlns:a16="http://schemas.microsoft.com/office/drawing/2014/main" id="{A0C15F5D-6E61-43F0-0E1B-EFFCD402EF26}"/>
              </a:ext>
            </a:extLst>
          </p:cNvPr>
          <p:cNvPicPr>
            <a:picLocks noGrp="1" noChangeAspect="1"/>
          </p:cNvPicPr>
          <p:nvPr>
            <p:ph type="pic" sz="quarter" idx="21"/>
          </p:nvPr>
        </p:nvPicPr>
        <p:blipFill>
          <a:blip r:embed="rId4" cstate="email">
            <a:extLst>
              <a:ext uri="{28A0092B-C50C-407E-A947-70E740481C1C}">
                <a14:useLocalDpi xmlns:a14="http://schemas.microsoft.com/office/drawing/2010/main"/>
              </a:ext>
            </a:extLst>
          </a:blip>
          <a:srcRect t="11092" b="11092"/>
          <a:stretch/>
        </p:blipFill>
        <p:spPr>
          <a:xfrm>
            <a:off x="0" y="0"/>
            <a:ext cx="5875338" cy="6858000"/>
          </a:xfrm>
        </p:spPr>
      </p:pic>
    </p:spTree>
    <p:extLst>
      <p:ext uri="{BB962C8B-B14F-4D97-AF65-F5344CB8AC3E}">
        <p14:creationId xmlns:p14="http://schemas.microsoft.com/office/powerpoint/2010/main" val="33761152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59A580-BFF3-18F4-FCE6-C71AD9D77277}"/>
              </a:ext>
            </a:extLst>
          </p:cNvPr>
          <p:cNvGraphicFramePr>
            <a:graphicFrameLocks noChangeAspect="1"/>
          </p:cNvGraphicFramePr>
          <p:nvPr>
            <p:custDataLst>
              <p:tags r:id="rId1"/>
            </p:custDataLst>
            <p:extLst>
              <p:ext uri="{D42A27DB-BD31-4B8C-83A1-F6EECF244321}">
                <p14:modId xmlns:p14="http://schemas.microsoft.com/office/powerpoint/2010/main" val="877146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a:extLst>
              <a:ext uri="{FF2B5EF4-FFF2-40B4-BE49-F238E27FC236}">
                <a16:creationId xmlns:a16="http://schemas.microsoft.com/office/drawing/2014/main" id="{77981AC9-AB0B-EA74-58B8-40B0E2D371C6}"/>
              </a:ext>
            </a:extLst>
          </p:cNvPr>
          <p:cNvPicPr>
            <a:picLocks noGrp="1" noChangeAspect="1"/>
          </p:cNvPicPr>
          <p:nvPr>
            <p:ph type="pic" sz="quarter" idx="19"/>
          </p:nvPr>
        </p:nvPicPr>
        <p:blipFill rotWithShape="1">
          <a:blip r:embed="rId5" cstate="email">
            <a:extLst>
              <a:ext uri="{28A0092B-C50C-407E-A947-70E740481C1C}">
                <a14:useLocalDpi xmlns:a14="http://schemas.microsoft.com/office/drawing/2010/main"/>
              </a:ext>
            </a:extLst>
          </a:blip>
          <a:srcRect t="6871" b="6871"/>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6" y="1160888"/>
            <a:ext cx="3113515" cy="2850370"/>
          </a:xfrm>
        </p:spPr>
        <p:txBody>
          <a:bodyPr/>
          <a:lstStyle/>
          <a:p>
            <a:r>
              <a:rPr lang="en-US" b="1" dirty="0"/>
              <a:t>EINFÜHRUNG IN NACHHALTIGE GESCHÄFTSPRAKTIKEN</a:t>
            </a:r>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t>01</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2182037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1482061" y="450972"/>
            <a:ext cx="9227869" cy="804265"/>
          </a:xfrm>
        </p:spPr>
        <p:txBody>
          <a:bodyPr/>
          <a:lstStyle/>
          <a:p>
            <a:pPr algn="ctr"/>
            <a:r>
              <a:rPr lang="en-US" sz="2800" dirty="0"/>
              <a:t>ANGLEICHUNG AN DIE ZIELE FÜR NACHHALTIGE ENTWICKLUNG &amp;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641268" y="1990388"/>
            <a:ext cx="10830296" cy="4439577"/>
          </a:xfrm>
        </p:spPr>
        <p:txBody>
          <a:bodyPr/>
          <a:lstStyle/>
          <a:p>
            <a:pPr>
              <a:spcAft>
                <a:spcPts val="600"/>
              </a:spcAft>
            </a:pPr>
            <a:r>
              <a:rPr lang="en-GB" sz="2000" b="1" dirty="0">
                <a:solidFill>
                  <a:srgbClr val="0F486D"/>
                </a:solidFill>
                <a:hlinkClick r:id="rId2">
                  <a:extLst>
                    <a:ext uri="{A12FA001-AC4F-418D-AE19-62706E023703}">
                      <ahyp:hlinkClr xmlns:ahyp="http://schemas.microsoft.com/office/drawing/2018/hyperlinkcolor" val="tx"/>
                    </a:ext>
                  </a:extLst>
                </a:hlinkClick>
              </a:rPr>
              <a:t>SDG 16: Frieden, Gerechtigkeit und starke Institutionen</a:t>
            </a:r>
            <a:r>
              <a:rPr lang="en-GB" sz="2000" b="1" dirty="0"/>
              <a:t>: </a:t>
            </a:r>
            <a:r>
              <a:rPr lang="en-GB" sz="2000" dirty="0"/>
              <a:t>Ethische Entscheidungsfindung beinhaltet die Analyse ethischer Dilemmata und Entscheidungsprozesse und trägt zum Aufbau friedlicher, gerechter und inklusiver Gesellschaften bei.</a:t>
            </a:r>
            <a:endParaRPr lang="en-GB" sz="2000" b="1" dirty="0"/>
          </a:p>
          <a:p>
            <a:pPr>
              <a:spcAft>
                <a:spcPts val="600"/>
              </a:spcAft>
            </a:pPr>
            <a:r>
              <a:rPr lang="en-GB" sz="2000"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a:t>
            </a:r>
            <a:r>
              <a:rPr lang="en-GB" sz="2000" b="1" dirty="0"/>
              <a:t>: </a:t>
            </a:r>
            <a:r>
              <a:rPr lang="en-GB" sz="2000" dirty="0"/>
              <a:t>Das Verständnis von Transparenz und Verantwortlichkeit in ethischen Geschäftspraktiken fördert nachhaltige Konsum- und Produktionsmuster.</a:t>
            </a:r>
          </a:p>
          <a:p>
            <a:pPr>
              <a:spcAft>
                <a:spcPts val="600"/>
              </a:spcAft>
            </a:pPr>
            <a:r>
              <a:rPr lang="en-GB" sz="2000" b="1" dirty="0">
                <a:solidFill>
                  <a:srgbClr val="0F486D"/>
                </a:solidFill>
                <a:hlinkClick r:id="rId4">
                  <a:extLst>
                    <a:ext uri="{A12FA001-AC4F-418D-AE19-62706E023703}">
                      <ahyp:hlinkClr xmlns:ahyp="http://schemas.microsoft.com/office/drawing/2018/hyperlinkcolor" val="tx"/>
                    </a:ext>
                  </a:extLst>
                </a:hlinkClick>
              </a:rPr>
              <a:t>EntreComp 1.5 Ethisches und nachhaltiges Denken</a:t>
            </a:r>
            <a:r>
              <a:rPr lang="en-GB" sz="2000" b="1" dirty="0"/>
              <a:t>: </a:t>
            </a:r>
            <a:r>
              <a:rPr lang="en-GB" sz="2000" dirty="0"/>
              <a:t>Bewertung der Folgen und Auswirkungen von Ideen, Möglichkeiten und Handlungen, einschließlich der Förderung der Eingliederung in Unternehmen, des nachhaltigen Managements und der sozialen Verantwortung von Unternehmen.</a:t>
            </a:r>
            <a:endParaRPr lang="en-GB" sz="2000" b="1" dirty="0"/>
          </a:p>
          <a:p>
            <a:pPr>
              <a:spcAft>
                <a:spcPts val="600"/>
              </a:spcAft>
            </a:pPr>
            <a:r>
              <a:rPr lang="en-GB" sz="2000" b="1" dirty="0">
                <a:solidFill>
                  <a:srgbClr val="0F486D"/>
                </a:solidFill>
                <a:hlinkClick r:id="rId4">
                  <a:extLst>
                    <a:ext uri="{A12FA001-AC4F-418D-AE19-62706E023703}">
                      <ahyp:hlinkClr xmlns:ahyp="http://schemas.microsoft.com/office/drawing/2018/hyperlinkcolor" val="tx"/>
                    </a:ext>
                  </a:extLst>
                </a:hlinkClick>
              </a:rPr>
              <a:t>EntreComp 3.1 Die Initiative ergreifen</a:t>
            </a:r>
            <a:r>
              <a:rPr lang="en-GB" sz="2000" b="1" dirty="0"/>
              <a:t>: </a:t>
            </a:r>
            <a:r>
              <a:rPr lang="en-GB" sz="2000" dirty="0"/>
              <a:t>Chancen erkennen, eigenständig operative Entscheidungen treffen und strategische Geschäftsentscheidungen treffen.</a:t>
            </a:r>
          </a:p>
        </p:txBody>
      </p:sp>
      <p:pic>
        <p:nvPicPr>
          <p:cNvPr id="4" name="Picture 2">
            <a:extLst>
              <a:ext uri="{FF2B5EF4-FFF2-40B4-BE49-F238E27FC236}">
                <a16:creationId xmlns:a16="http://schemas.microsoft.com/office/drawing/2014/main" id="{CE07405F-1FBB-FB01-4E35-829F47D50DF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9421" y="386632"/>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E4909D8-7B30-4135-BCCD-3A616E8C9364}"/>
              </a:ext>
            </a:extLst>
          </p:cNvPr>
          <p:cNvPicPr>
            <a:picLocks noChangeAspect="1"/>
          </p:cNvPicPr>
          <p:nvPr/>
        </p:nvPicPr>
        <p:blipFill>
          <a:blip r:embed="rId6"/>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6448675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400A444-0EA8-C105-8FD6-9C515224A3DB}"/>
              </a:ext>
            </a:extLst>
          </p:cNvPr>
          <p:cNvGraphicFramePr>
            <a:graphicFrameLocks noChangeAspect="1"/>
          </p:cNvGraphicFramePr>
          <p:nvPr>
            <p:custDataLst>
              <p:tags r:id="rId1"/>
            </p:custDataLst>
            <p:extLst>
              <p:ext uri="{D42A27DB-BD31-4B8C-83A1-F6EECF244321}">
                <p14:modId xmlns:p14="http://schemas.microsoft.com/office/powerpoint/2010/main" val="43008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Two cute robots">
            <a:extLst>
              <a:ext uri="{FF2B5EF4-FFF2-40B4-BE49-F238E27FC236}">
                <a16:creationId xmlns:a16="http://schemas.microsoft.com/office/drawing/2014/main" id="{F6331A57-2CB1-AD48-0F79-C128695D2029}"/>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A0C335A3-EE55-F05B-FD33-823DE692CF6C}"/>
              </a:ext>
            </a:extLst>
          </p:cNvPr>
          <p:cNvSpPr>
            <a:spLocks noGrp="1"/>
          </p:cNvSpPr>
          <p:nvPr>
            <p:ph type="body" sz="quarter" idx="30"/>
          </p:nvPr>
        </p:nvSpPr>
        <p:spPr/>
        <p:txBody>
          <a:bodyPr/>
          <a:lstStyle/>
          <a:p>
            <a:r>
              <a:rPr lang="en-IE" dirty="0"/>
              <a:t>PRAKTISCHE ÜBUNG</a:t>
            </a:r>
          </a:p>
        </p:txBody>
      </p:sp>
      <p:sp>
        <p:nvSpPr>
          <p:cNvPr id="4" name="Text Placeholder 3">
            <a:extLst>
              <a:ext uri="{FF2B5EF4-FFF2-40B4-BE49-F238E27FC236}">
                <a16:creationId xmlns:a16="http://schemas.microsoft.com/office/drawing/2014/main" id="{3466DB92-AB89-C473-7ADE-095100E2CD07}"/>
              </a:ext>
            </a:extLst>
          </p:cNvPr>
          <p:cNvSpPr>
            <a:spLocks noGrp="1"/>
          </p:cNvSpPr>
          <p:nvPr>
            <p:ph type="body" sz="quarter" idx="48"/>
          </p:nvPr>
        </p:nvSpPr>
        <p:spPr>
          <a:xfrm>
            <a:off x="5184396" y="1551245"/>
            <a:ext cx="6776597" cy="5050891"/>
          </a:xfrm>
          <a:solidFill>
            <a:schemeClr val="bg1"/>
          </a:solidFill>
        </p:spPr>
        <p:txBody>
          <a:bodyPr/>
          <a:lstStyle/>
          <a:p>
            <a:pPr>
              <a:spcAft>
                <a:spcPts val="600"/>
              </a:spcAft>
            </a:pPr>
            <a:r>
              <a:rPr lang="en-GB" sz="1800" b="1" dirty="0"/>
              <a:t>Anwendung ethischer Grundsätze bei unternehmerischen Entscheidungen.</a:t>
            </a:r>
          </a:p>
          <a:p>
            <a:pPr>
              <a:spcAft>
                <a:spcPts val="600"/>
              </a:spcAft>
            </a:pPr>
            <a:r>
              <a:rPr lang="en-GB" sz="1800" b="1" dirty="0"/>
              <a:t>Szenario: </a:t>
            </a:r>
            <a:r>
              <a:rPr lang="en-GB" sz="1800" dirty="0"/>
              <a:t>Ihr Unternehmen, </a:t>
            </a:r>
            <a:r>
              <a:rPr lang="en-GB" sz="1800" i="1" dirty="0" err="1"/>
              <a:t>EcoClean</a:t>
            </a:r>
            <a:r>
              <a:rPr lang="en-GB" sz="1800" dirty="0"/>
              <a:t>, kann durch den Einsatz eines neuen, weniger geprüften chemischen Inhaltsstoffs die Kosten um 20 % senken. Entscheiden Sie unter Berücksichtigung aller potenziellen Auswirkungen, ob Sie die Verwendung dieses Stoffes genehmigen.</a:t>
            </a:r>
            <a:endParaRPr lang="en-GB" sz="1800" b="1" dirty="0"/>
          </a:p>
          <a:p>
            <a:pPr>
              <a:spcAft>
                <a:spcPts val="600"/>
              </a:spcAft>
            </a:pPr>
            <a:r>
              <a:rPr lang="en-GB" sz="1800" b="1" dirty="0"/>
              <a:t>Schritte: Individuell reflektieren: </a:t>
            </a:r>
            <a:r>
              <a:rPr lang="en-GB" sz="1800" dirty="0"/>
              <a:t>Bedenken Sie die Vorteile, Risiken und betroffenen Interessengruppen (z. B. Kunden, Umwelt).</a:t>
            </a:r>
          </a:p>
          <a:p>
            <a:pPr>
              <a:spcAft>
                <a:spcPts val="600"/>
              </a:spcAft>
            </a:pPr>
            <a:r>
              <a:rPr lang="en-GB" sz="1800" b="1" dirty="0"/>
              <a:t>Diskutieren Sie in Kleingruppen: </a:t>
            </a:r>
            <a:r>
              <a:rPr lang="en-GB" sz="1800" dirty="0"/>
              <a:t>Tauschen Sie sich über Ihre Überlegungen aus, diskutieren Sie die Optionen und entscheiden Sie sich für eine Vorgehensweise, die auf ethischen Grundsätzen beruht (Integrität, Transparenz, Verantwortlichkeit).</a:t>
            </a:r>
            <a:br>
              <a:rPr lang="en-GB" sz="1800" b="1" dirty="0"/>
            </a:br>
            <a:r>
              <a:rPr lang="en-GB" sz="1800" b="1" dirty="0"/>
              <a:t>Entscheidungen präsentieren: </a:t>
            </a:r>
            <a:r>
              <a:rPr lang="en-GB" sz="1800" dirty="0"/>
              <a:t>Jede Gruppe stellt ihre Entscheidung und die Gründe dafür vor der Klasse vor.</a:t>
            </a:r>
            <a:br>
              <a:rPr lang="en-GB" sz="1800" b="1" dirty="0"/>
            </a:br>
            <a:r>
              <a:rPr lang="en-GB" sz="1800" b="1" dirty="0"/>
              <a:t>Gruppenreflexion: </a:t>
            </a:r>
            <a:r>
              <a:rPr lang="en-GB" sz="1800" dirty="0"/>
              <a:t>Diskutieren Sie, wie die einzelnen Gruppen die ethischen Grundsätze gewichtet haben und mit welchen Herausforderungen sie konfrontiert waren.</a:t>
            </a:r>
            <a:endParaRPr lang="en-IE" sz="1800" dirty="0"/>
          </a:p>
        </p:txBody>
      </p:sp>
    </p:spTree>
    <p:extLst>
      <p:ext uri="{BB962C8B-B14F-4D97-AF65-F5344CB8AC3E}">
        <p14:creationId xmlns:p14="http://schemas.microsoft.com/office/powerpoint/2010/main" val="7787592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CD864F-12FC-444B-495D-A5E327843E5F}"/>
              </a:ext>
            </a:extLst>
          </p:cNvPr>
          <p:cNvSpPr>
            <a:spLocks noGrp="1"/>
          </p:cNvSpPr>
          <p:nvPr>
            <p:ph type="body" sz="quarter" idx="30"/>
          </p:nvPr>
        </p:nvSpPr>
        <p:spPr>
          <a:xfrm>
            <a:off x="6276147" y="198029"/>
            <a:ext cx="4951851" cy="845139"/>
          </a:xfrm>
        </p:spPr>
        <p:txBody>
          <a:bodyPr/>
          <a:lstStyle/>
          <a:p>
            <a:r>
              <a:rPr lang="en-IE" dirty="0"/>
              <a:t>Weitere Ressourcen</a:t>
            </a:r>
          </a:p>
        </p:txBody>
      </p:sp>
      <p:sp>
        <p:nvSpPr>
          <p:cNvPr id="4" name="Text Placeholder 3">
            <a:extLst>
              <a:ext uri="{FF2B5EF4-FFF2-40B4-BE49-F238E27FC236}">
                <a16:creationId xmlns:a16="http://schemas.microsoft.com/office/drawing/2014/main" id="{03217DE6-3467-0A26-1950-9C5913DF9B0A}"/>
              </a:ext>
            </a:extLst>
          </p:cNvPr>
          <p:cNvSpPr>
            <a:spLocks noGrp="1"/>
          </p:cNvSpPr>
          <p:nvPr>
            <p:ph type="body" sz="quarter" idx="48"/>
          </p:nvPr>
        </p:nvSpPr>
        <p:spPr>
          <a:xfrm>
            <a:off x="6295979" y="1083649"/>
            <a:ext cx="5214824" cy="5239479"/>
          </a:xfrm>
        </p:spPr>
        <p:txBody>
          <a:bodyPr/>
          <a:lstStyle/>
          <a:p>
            <a:pPr algn="just">
              <a:spcAft>
                <a:spcPts val="600"/>
              </a:spcAft>
            </a:pPr>
            <a:r>
              <a:rPr lang="en-GB" sz="2400" dirty="0"/>
              <a:t>Diese Ressourcen bieten zusätzliche Einblicke und praktische Anleitungen für das Verständnis ethischer Geschäftspraktiken, das Treffen fundierter Entscheidungen und die Förderung ethischer Führung in Unternehmen.</a:t>
            </a:r>
          </a:p>
          <a:p>
            <a:pPr marL="342900" indent="-342900" algn="just">
              <a:spcAft>
                <a:spcPts val="600"/>
              </a:spcAft>
              <a:buFont typeface="Arial" panose="020B0604020202020204" pitchFamily="34" charset="0"/>
              <a:buChar char="•"/>
            </a:pPr>
            <a:r>
              <a:rPr lang="en-GB" sz="2400" b="1" dirty="0"/>
              <a:t>Was ist </a:t>
            </a:r>
            <a:r>
              <a:rPr lang="en-GB" sz="2400" b="1" dirty="0">
                <a:hlinkClick r:id="rId2"/>
              </a:rPr>
              <a:t>Wirtschaftsethik</a:t>
            </a:r>
            <a:r>
              <a:rPr lang="en-GB" sz="2400" b="1" dirty="0"/>
              <a:t>? Definition, Grundsätze und Bedeutung</a:t>
            </a:r>
          </a:p>
          <a:p>
            <a:pPr marL="342900" indent="-342900" algn="just">
              <a:spcAft>
                <a:spcPts val="600"/>
              </a:spcAft>
              <a:buFont typeface="Arial" panose="020B0604020202020204" pitchFamily="34" charset="0"/>
              <a:buChar char="•"/>
            </a:pPr>
            <a:r>
              <a:rPr lang="en-GB" sz="2400" b="1" dirty="0"/>
              <a:t>7 Wege zur </a:t>
            </a:r>
            <a:r>
              <a:rPr lang="en-GB" sz="2400" b="1" dirty="0">
                <a:hlinkClick r:id="rId3"/>
              </a:rPr>
              <a:t>Verbesserung Ihrer ethischen Entscheidungsfindung </a:t>
            </a:r>
            <a:endParaRPr lang="en-GB" sz="2400" b="1" dirty="0"/>
          </a:p>
          <a:p>
            <a:pPr marL="342900" indent="-342900" algn="just">
              <a:spcAft>
                <a:spcPts val="600"/>
              </a:spcAft>
              <a:buFont typeface="Arial" panose="020B0604020202020204" pitchFamily="34" charset="0"/>
              <a:buChar char="•"/>
            </a:pPr>
            <a:r>
              <a:rPr lang="en-GB" sz="2400" b="1" dirty="0">
                <a:hlinkClick r:id="rId4"/>
              </a:rPr>
              <a:t>10 Dinge, die Transparenz für Ihr Unternehmen tun kann </a:t>
            </a:r>
            <a:endParaRPr lang="en-GB" sz="2400" b="1" dirty="0"/>
          </a:p>
          <a:p>
            <a:pPr algn="just">
              <a:spcAft>
                <a:spcPts val="600"/>
              </a:spcAft>
            </a:pPr>
            <a:endParaRPr lang="en-IE" sz="2400" dirty="0"/>
          </a:p>
        </p:txBody>
      </p:sp>
      <p:grpSp>
        <p:nvGrpSpPr>
          <p:cNvPr id="5" name="Graphic 4">
            <a:extLst>
              <a:ext uri="{FF2B5EF4-FFF2-40B4-BE49-F238E27FC236}">
                <a16:creationId xmlns:a16="http://schemas.microsoft.com/office/drawing/2014/main" id="{4D989C4D-4832-2B0C-B76C-8A4EF85B7163}"/>
              </a:ext>
            </a:extLst>
          </p:cNvPr>
          <p:cNvGrpSpPr/>
          <p:nvPr/>
        </p:nvGrpSpPr>
        <p:grpSpPr>
          <a:xfrm rot="19582332">
            <a:off x="10265651" y="5635899"/>
            <a:ext cx="403667" cy="780438"/>
            <a:chOff x="9129274" y="2719113"/>
            <a:chExt cx="717139" cy="1386497"/>
          </a:xfrm>
          <a:solidFill>
            <a:srgbClr val="09465E"/>
          </a:solidFill>
        </p:grpSpPr>
        <p:grpSp>
          <p:nvGrpSpPr>
            <p:cNvPr id="6" name="Graphic 4">
              <a:extLst>
                <a:ext uri="{FF2B5EF4-FFF2-40B4-BE49-F238E27FC236}">
                  <a16:creationId xmlns:a16="http://schemas.microsoft.com/office/drawing/2014/main" id="{CBCC1838-726A-36E1-2E14-9F70D4791FF6}"/>
                </a:ext>
              </a:extLst>
            </p:cNvPr>
            <p:cNvGrpSpPr/>
            <p:nvPr/>
          </p:nvGrpSpPr>
          <p:grpSpPr>
            <a:xfrm>
              <a:off x="9159507" y="2719113"/>
              <a:ext cx="446280" cy="440141"/>
              <a:chOff x="9159507" y="2719113"/>
              <a:chExt cx="446280" cy="440141"/>
            </a:xfrm>
            <a:grpFill/>
          </p:grpSpPr>
          <p:sp>
            <p:nvSpPr>
              <p:cNvPr id="15" name="Freeform 57">
                <a:extLst>
                  <a:ext uri="{FF2B5EF4-FFF2-40B4-BE49-F238E27FC236}">
                    <a16:creationId xmlns:a16="http://schemas.microsoft.com/office/drawing/2014/main" id="{C68E12EC-1146-6558-3B10-9D4312B9DEE1}"/>
                  </a:ext>
                </a:extLst>
              </p:cNvPr>
              <p:cNvSpPr/>
              <p:nvPr/>
            </p:nvSpPr>
            <p:spPr>
              <a:xfrm>
                <a:off x="9159507" y="2719113"/>
                <a:ext cx="446280" cy="440141"/>
              </a:xfrm>
              <a:custGeom>
                <a:avLst/>
                <a:gdLst>
                  <a:gd name="connsiteX0" fmla="*/ 275519 w 446280"/>
                  <a:gd name="connsiteY0" fmla="*/ 440141 h 440141"/>
                  <a:gd name="connsiteX1" fmla="*/ 256120 w 446280"/>
                  <a:gd name="connsiteY1" fmla="*/ 425920 h 440141"/>
                  <a:gd name="connsiteX2" fmla="*/ 270345 w 446280"/>
                  <a:gd name="connsiteY2" fmla="*/ 402649 h 440141"/>
                  <a:gd name="connsiteX3" fmla="*/ 384154 w 446280"/>
                  <a:gd name="connsiteY3" fmla="*/ 316029 h 440141"/>
                  <a:gd name="connsiteX4" fmla="*/ 402261 w 446280"/>
                  <a:gd name="connsiteY4" fmla="*/ 176402 h 440141"/>
                  <a:gd name="connsiteX5" fmla="*/ 316903 w 446280"/>
                  <a:gd name="connsiteY5" fmla="*/ 63925 h 440141"/>
                  <a:gd name="connsiteX6" fmla="*/ 64713 w 446280"/>
                  <a:gd name="connsiteY6" fmla="*/ 131153 h 440141"/>
                  <a:gd name="connsiteX7" fmla="*/ 46607 w 446280"/>
                  <a:gd name="connsiteY7" fmla="*/ 270779 h 440141"/>
                  <a:gd name="connsiteX8" fmla="*/ 131964 w 446280"/>
                  <a:gd name="connsiteY8" fmla="*/ 383256 h 440141"/>
                  <a:gd name="connsiteX9" fmla="*/ 174642 w 446280"/>
                  <a:gd name="connsiteY9" fmla="*/ 401356 h 440141"/>
                  <a:gd name="connsiteX10" fmla="*/ 187575 w 446280"/>
                  <a:gd name="connsiteY10" fmla="*/ 425920 h 440141"/>
                  <a:gd name="connsiteX11" fmla="*/ 163003 w 446280"/>
                  <a:gd name="connsiteY11" fmla="*/ 438848 h 440141"/>
                  <a:gd name="connsiteX12" fmla="*/ 111271 w 446280"/>
                  <a:gd name="connsiteY12" fmla="*/ 416870 h 440141"/>
                  <a:gd name="connsiteX13" fmla="*/ 7808 w 446280"/>
                  <a:gd name="connsiteY13" fmla="*/ 281122 h 440141"/>
                  <a:gd name="connsiteX14" fmla="*/ 29794 w 446280"/>
                  <a:gd name="connsiteY14" fmla="*/ 111760 h 440141"/>
                  <a:gd name="connsiteX15" fmla="*/ 335010 w 446280"/>
                  <a:gd name="connsiteY15" fmla="*/ 30311 h 440141"/>
                  <a:gd name="connsiteX16" fmla="*/ 438473 w 446280"/>
                  <a:gd name="connsiteY16" fmla="*/ 166059 h 440141"/>
                  <a:gd name="connsiteX17" fmla="*/ 416487 w 446280"/>
                  <a:gd name="connsiteY17" fmla="*/ 335421 h 440141"/>
                  <a:gd name="connsiteX18" fmla="*/ 278105 w 446280"/>
                  <a:gd name="connsiteY18" fmla="*/ 440141 h 440141"/>
                  <a:gd name="connsiteX19" fmla="*/ 275519 w 446280"/>
                  <a:gd name="connsiteY19" fmla="*/ 440141 h 4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280" h="440141">
                    <a:moveTo>
                      <a:pt x="275519" y="440141"/>
                    </a:moveTo>
                    <a:cubicBezTo>
                      <a:pt x="266466" y="440141"/>
                      <a:pt x="258705" y="433677"/>
                      <a:pt x="256120" y="425920"/>
                    </a:cubicBezTo>
                    <a:cubicBezTo>
                      <a:pt x="253533" y="415577"/>
                      <a:pt x="259999" y="405234"/>
                      <a:pt x="270345" y="402649"/>
                    </a:cubicBezTo>
                    <a:cubicBezTo>
                      <a:pt x="318197" y="389720"/>
                      <a:pt x="359582" y="359985"/>
                      <a:pt x="384154" y="316029"/>
                    </a:cubicBezTo>
                    <a:cubicBezTo>
                      <a:pt x="408727" y="273365"/>
                      <a:pt x="415194" y="222944"/>
                      <a:pt x="402261" y="176402"/>
                    </a:cubicBezTo>
                    <a:cubicBezTo>
                      <a:pt x="389328" y="128567"/>
                      <a:pt x="359582" y="88489"/>
                      <a:pt x="316903" y="63925"/>
                    </a:cubicBezTo>
                    <a:cubicBezTo>
                      <a:pt x="228960" y="12212"/>
                      <a:pt x="115151" y="43240"/>
                      <a:pt x="64713" y="131153"/>
                    </a:cubicBezTo>
                    <a:cubicBezTo>
                      <a:pt x="40141" y="173816"/>
                      <a:pt x="33674" y="224237"/>
                      <a:pt x="46607" y="270779"/>
                    </a:cubicBezTo>
                    <a:cubicBezTo>
                      <a:pt x="59540" y="318614"/>
                      <a:pt x="89285" y="358692"/>
                      <a:pt x="131964" y="383256"/>
                    </a:cubicBezTo>
                    <a:cubicBezTo>
                      <a:pt x="144896" y="391013"/>
                      <a:pt x="159123" y="397477"/>
                      <a:pt x="174642" y="401356"/>
                    </a:cubicBezTo>
                    <a:cubicBezTo>
                      <a:pt x="184989" y="403942"/>
                      <a:pt x="191455" y="415577"/>
                      <a:pt x="187575" y="425920"/>
                    </a:cubicBezTo>
                    <a:cubicBezTo>
                      <a:pt x="184989" y="436262"/>
                      <a:pt x="173349" y="442727"/>
                      <a:pt x="163003" y="438848"/>
                    </a:cubicBezTo>
                    <a:cubicBezTo>
                      <a:pt x="144896" y="433677"/>
                      <a:pt x="128084" y="425920"/>
                      <a:pt x="111271" y="416870"/>
                    </a:cubicBezTo>
                    <a:cubicBezTo>
                      <a:pt x="59540" y="387135"/>
                      <a:pt x="22034" y="338007"/>
                      <a:pt x="7808" y="281122"/>
                    </a:cubicBezTo>
                    <a:cubicBezTo>
                      <a:pt x="-7711" y="222944"/>
                      <a:pt x="48" y="163474"/>
                      <a:pt x="29794" y="111760"/>
                    </a:cubicBezTo>
                    <a:cubicBezTo>
                      <a:pt x="91872" y="4455"/>
                      <a:pt x="228960" y="-31745"/>
                      <a:pt x="335010" y="30311"/>
                    </a:cubicBezTo>
                    <a:cubicBezTo>
                      <a:pt x="386741" y="60047"/>
                      <a:pt x="424247" y="109175"/>
                      <a:pt x="438473" y="166059"/>
                    </a:cubicBezTo>
                    <a:cubicBezTo>
                      <a:pt x="453992" y="224237"/>
                      <a:pt x="446232" y="283708"/>
                      <a:pt x="416487" y="335421"/>
                    </a:cubicBezTo>
                    <a:cubicBezTo>
                      <a:pt x="386741" y="387135"/>
                      <a:pt x="337596" y="424627"/>
                      <a:pt x="278105" y="440141"/>
                    </a:cubicBezTo>
                    <a:cubicBezTo>
                      <a:pt x="278105" y="438848"/>
                      <a:pt x="276812" y="440141"/>
                      <a:pt x="275519" y="440141"/>
                    </a:cubicBezTo>
                    <a:close/>
                  </a:path>
                </a:pathLst>
              </a:custGeom>
              <a:solidFill>
                <a:srgbClr val="F99F27"/>
              </a:solidFill>
              <a:ln w="12931" cap="flat">
                <a:noFill/>
                <a:prstDash val="solid"/>
                <a:miter/>
              </a:ln>
            </p:spPr>
            <p:txBody>
              <a:bodyPr rtlCol="0" anchor="ctr"/>
              <a:lstStyle/>
              <a:p>
                <a:endParaRPr lang="en-US"/>
              </a:p>
            </p:txBody>
          </p:sp>
          <p:sp>
            <p:nvSpPr>
              <p:cNvPr id="16" name="Freeform 58">
                <a:extLst>
                  <a:ext uri="{FF2B5EF4-FFF2-40B4-BE49-F238E27FC236}">
                    <a16:creationId xmlns:a16="http://schemas.microsoft.com/office/drawing/2014/main" id="{B41B9C62-EB2D-2A8F-8A19-6A196212BC78}"/>
                  </a:ext>
                </a:extLst>
              </p:cNvPr>
              <p:cNvSpPr/>
              <p:nvPr/>
            </p:nvSpPr>
            <p:spPr>
              <a:xfrm>
                <a:off x="9245200" y="2800133"/>
                <a:ext cx="280068" cy="273794"/>
              </a:xfrm>
              <a:custGeom>
                <a:avLst/>
                <a:gdLst>
                  <a:gd name="connsiteX0" fmla="*/ 182066 w 280068"/>
                  <a:gd name="connsiteY0" fmla="*/ 273794 h 273794"/>
                  <a:gd name="connsiteX1" fmla="*/ 163960 w 280068"/>
                  <a:gd name="connsiteY1" fmla="*/ 260866 h 273794"/>
                  <a:gd name="connsiteX2" fmla="*/ 175599 w 280068"/>
                  <a:gd name="connsiteY2" fmla="*/ 236302 h 273794"/>
                  <a:gd name="connsiteX3" fmla="*/ 227331 w 280068"/>
                  <a:gd name="connsiteY3" fmla="*/ 192345 h 273794"/>
                  <a:gd name="connsiteX4" fmla="*/ 191119 w 280068"/>
                  <a:gd name="connsiteY4" fmla="*/ 54012 h 273794"/>
                  <a:gd name="connsiteX5" fmla="*/ 52737 w 280068"/>
                  <a:gd name="connsiteY5" fmla="*/ 90211 h 273794"/>
                  <a:gd name="connsiteX6" fmla="*/ 88949 w 280068"/>
                  <a:gd name="connsiteY6" fmla="*/ 228545 h 273794"/>
                  <a:gd name="connsiteX7" fmla="*/ 95415 w 280068"/>
                  <a:gd name="connsiteY7" fmla="*/ 254402 h 273794"/>
                  <a:gd name="connsiteX8" fmla="*/ 69550 w 280068"/>
                  <a:gd name="connsiteY8" fmla="*/ 260866 h 273794"/>
                  <a:gd name="connsiteX9" fmla="*/ 19112 w 280068"/>
                  <a:gd name="connsiteY9" fmla="*/ 69526 h 273794"/>
                  <a:gd name="connsiteX10" fmla="*/ 210518 w 280068"/>
                  <a:gd name="connsiteY10" fmla="*/ 19105 h 273794"/>
                  <a:gd name="connsiteX11" fmla="*/ 260957 w 280068"/>
                  <a:gd name="connsiteY11" fmla="*/ 210445 h 273794"/>
                  <a:gd name="connsiteX12" fmla="*/ 189826 w 280068"/>
                  <a:gd name="connsiteY12" fmla="*/ 271209 h 273794"/>
                  <a:gd name="connsiteX13" fmla="*/ 182066 w 280068"/>
                  <a:gd name="connsiteY13" fmla="*/ 273794 h 27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068" h="273794">
                    <a:moveTo>
                      <a:pt x="182066" y="273794"/>
                    </a:moveTo>
                    <a:cubicBezTo>
                      <a:pt x="174306" y="273794"/>
                      <a:pt x="166546" y="268623"/>
                      <a:pt x="163960" y="260866"/>
                    </a:cubicBezTo>
                    <a:cubicBezTo>
                      <a:pt x="160080" y="250523"/>
                      <a:pt x="165253" y="240180"/>
                      <a:pt x="175599" y="236302"/>
                    </a:cubicBezTo>
                    <a:cubicBezTo>
                      <a:pt x="197585" y="228545"/>
                      <a:pt x="215692" y="213031"/>
                      <a:pt x="227331" y="192345"/>
                    </a:cubicBezTo>
                    <a:cubicBezTo>
                      <a:pt x="255783" y="144510"/>
                      <a:pt x="238971" y="82454"/>
                      <a:pt x="191119" y="54012"/>
                    </a:cubicBezTo>
                    <a:cubicBezTo>
                      <a:pt x="143267" y="25569"/>
                      <a:pt x="81189" y="42376"/>
                      <a:pt x="52737" y="90211"/>
                    </a:cubicBezTo>
                    <a:cubicBezTo>
                      <a:pt x="24285" y="138046"/>
                      <a:pt x="41098" y="200103"/>
                      <a:pt x="88949" y="228545"/>
                    </a:cubicBezTo>
                    <a:cubicBezTo>
                      <a:pt x="98002" y="233716"/>
                      <a:pt x="101882" y="245352"/>
                      <a:pt x="95415" y="254402"/>
                    </a:cubicBezTo>
                    <a:cubicBezTo>
                      <a:pt x="90243" y="263452"/>
                      <a:pt x="78603" y="267330"/>
                      <a:pt x="69550" y="260866"/>
                    </a:cubicBezTo>
                    <a:cubicBezTo>
                      <a:pt x="2299" y="222081"/>
                      <a:pt x="-19687" y="136753"/>
                      <a:pt x="19112" y="69526"/>
                    </a:cubicBezTo>
                    <a:cubicBezTo>
                      <a:pt x="57910" y="2298"/>
                      <a:pt x="143267" y="-19680"/>
                      <a:pt x="210518" y="19105"/>
                    </a:cubicBezTo>
                    <a:cubicBezTo>
                      <a:pt x="277769" y="57890"/>
                      <a:pt x="299755" y="143218"/>
                      <a:pt x="260957" y="210445"/>
                    </a:cubicBezTo>
                    <a:cubicBezTo>
                      <a:pt x="245437" y="237595"/>
                      <a:pt x="219571" y="259573"/>
                      <a:pt x="189826" y="271209"/>
                    </a:cubicBezTo>
                    <a:cubicBezTo>
                      <a:pt x="185945" y="272501"/>
                      <a:pt x="183359" y="273794"/>
                      <a:pt x="182066" y="273794"/>
                    </a:cubicBezTo>
                    <a:close/>
                  </a:path>
                </a:pathLst>
              </a:custGeom>
              <a:solidFill>
                <a:srgbClr val="F99F27"/>
              </a:solidFill>
              <a:ln w="12931" cap="flat">
                <a:noFill/>
                <a:prstDash val="solid"/>
                <a:miter/>
              </a:ln>
            </p:spPr>
            <p:txBody>
              <a:bodyPr rtlCol="0" anchor="ctr"/>
              <a:lstStyle/>
              <a:p>
                <a:endParaRPr lang="en-US"/>
              </a:p>
            </p:txBody>
          </p:sp>
        </p:grpSp>
        <p:grpSp>
          <p:nvGrpSpPr>
            <p:cNvPr id="7" name="Graphic 4">
              <a:extLst>
                <a:ext uri="{FF2B5EF4-FFF2-40B4-BE49-F238E27FC236}">
                  <a16:creationId xmlns:a16="http://schemas.microsoft.com/office/drawing/2014/main" id="{FC013055-A088-42C9-CB1D-063CDD78ACE1}"/>
                </a:ext>
              </a:extLst>
            </p:cNvPr>
            <p:cNvGrpSpPr/>
            <p:nvPr/>
          </p:nvGrpSpPr>
          <p:grpSpPr>
            <a:xfrm>
              <a:off x="9129274" y="2893887"/>
              <a:ext cx="717139" cy="1211724"/>
              <a:chOff x="9129274" y="2893887"/>
              <a:chExt cx="717139" cy="1211724"/>
            </a:xfrm>
            <a:grpFill/>
          </p:grpSpPr>
          <p:sp>
            <p:nvSpPr>
              <p:cNvPr id="8" name="Freeform 50">
                <a:extLst>
                  <a:ext uri="{FF2B5EF4-FFF2-40B4-BE49-F238E27FC236}">
                    <a16:creationId xmlns:a16="http://schemas.microsoft.com/office/drawing/2014/main" id="{14A5D2B6-56CB-CE5F-8901-BA9E4E80AB06}"/>
                  </a:ext>
                </a:extLst>
              </p:cNvPr>
              <p:cNvSpPr/>
              <p:nvPr/>
            </p:nvSpPr>
            <p:spPr>
              <a:xfrm>
                <a:off x="9129274" y="3281518"/>
                <a:ext cx="222449" cy="606896"/>
              </a:xfrm>
              <a:custGeom>
                <a:avLst/>
                <a:gdLst>
                  <a:gd name="connsiteX0" fmla="*/ 200995 w 222449"/>
                  <a:gd name="connsiteY0" fmla="*/ 606896 h 606896"/>
                  <a:gd name="connsiteX1" fmla="*/ 193235 w 222449"/>
                  <a:gd name="connsiteY1" fmla="*/ 605603 h 606896"/>
                  <a:gd name="connsiteX2" fmla="*/ 173836 w 222449"/>
                  <a:gd name="connsiteY2" fmla="*/ 593968 h 606896"/>
                  <a:gd name="connsiteX3" fmla="*/ 169956 w 222449"/>
                  <a:gd name="connsiteY3" fmla="*/ 591382 h 606896"/>
                  <a:gd name="connsiteX4" fmla="*/ 107878 w 222449"/>
                  <a:gd name="connsiteY4" fmla="*/ 531912 h 606896"/>
                  <a:gd name="connsiteX5" fmla="*/ 62613 w 222449"/>
                  <a:gd name="connsiteY5" fmla="*/ 465977 h 606896"/>
                  <a:gd name="connsiteX6" fmla="*/ 8296 w 222449"/>
                  <a:gd name="connsiteY6" fmla="*/ 326350 h 606896"/>
                  <a:gd name="connsiteX7" fmla="*/ 4415 w 222449"/>
                  <a:gd name="connsiteY7" fmla="*/ 306958 h 606896"/>
                  <a:gd name="connsiteX8" fmla="*/ 3122 w 222449"/>
                  <a:gd name="connsiteY8" fmla="*/ 303079 h 606896"/>
                  <a:gd name="connsiteX9" fmla="*/ 1829 w 222449"/>
                  <a:gd name="connsiteY9" fmla="*/ 295322 h 606896"/>
                  <a:gd name="connsiteX10" fmla="*/ 536 w 222449"/>
                  <a:gd name="connsiteY10" fmla="*/ 279808 h 606896"/>
                  <a:gd name="connsiteX11" fmla="*/ 1829 w 222449"/>
                  <a:gd name="connsiteY11" fmla="*/ 243609 h 606896"/>
                  <a:gd name="connsiteX12" fmla="*/ 1829 w 222449"/>
                  <a:gd name="connsiteY12" fmla="*/ 238437 h 606896"/>
                  <a:gd name="connsiteX13" fmla="*/ 7002 w 222449"/>
                  <a:gd name="connsiteY13" fmla="*/ 197067 h 606896"/>
                  <a:gd name="connsiteX14" fmla="*/ 9589 w 222449"/>
                  <a:gd name="connsiteY14" fmla="*/ 175088 h 606896"/>
                  <a:gd name="connsiteX15" fmla="*/ 13468 w 222449"/>
                  <a:gd name="connsiteY15" fmla="*/ 66490 h 606896"/>
                  <a:gd name="connsiteX16" fmla="*/ 13468 w 222449"/>
                  <a:gd name="connsiteY16" fmla="*/ 65197 h 606896"/>
                  <a:gd name="connsiteX17" fmla="*/ 63907 w 222449"/>
                  <a:gd name="connsiteY17" fmla="*/ 555 h 606896"/>
                  <a:gd name="connsiteX18" fmla="*/ 125984 w 222449"/>
                  <a:gd name="connsiteY18" fmla="*/ 39341 h 606896"/>
                  <a:gd name="connsiteX19" fmla="*/ 153143 w 222449"/>
                  <a:gd name="connsiteY19" fmla="*/ 177674 h 606896"/>
                  <a:gd name="connsiteX20" fmla="*/ 155730 w 222449"/>
                  <a:gd name="connsiteY20" fmla="*/ 200945 h 606896"/>
                  <a:gd name="connsiteX21" fmla="*/ 159610 w 222449"/>
                  <a:gd name="connsiteY21" fmla="*/ 238437 h 606896"/>
                  <a:gd name="connsiteX22" fmla="*/ 191942 w 222449"/>
                  <a:gd name="connsiteY22" fmla="*/ 314715 h 606896"/>
                  <a:gd name="connsiteX23" fmla="*/ 193235 w 222449"/>
                  <a:gd name="connsiteY23" fmla="*/ 341864 h 606896"/>
                  <a:gd name="connsiteX24" fmla="*/ 166076 w 222449"/>
                  <a:gd name="connsiteY24" fmla="*/ 343157 h 606896"/>
                  <a:gd name="connsiteX25" fmla="*/ 120811 w 222449"/>
                  <a:gd name="connsiteY25" fmla="*/ 243609 h 606896"/>
                  <a:gd name="connsiteX26" fmla="*/ 116931 w 222449"/>
                  <a:gd name="connsiteY26" fmla="*/ 204824 h 606896"/>
                  <a:gd name="connsiteX27" fmla="*/ 114345 w 222449"/>
                  <a:gd name="connsiteY27" fmla="*/ 181553 h 606896"/>
                  <a:gd name="connsiteX28" fmla="*/ 89773 w 222449"/>
                  <a:gd name="connsiteY28" fmla="*/ 52269 h 606896"/>
                  <a:gd name="connsiteX29" fmla="*/ 69080 w 222449"/>
                  <a:gd name="connsiteY29" fmla="*/ 39341 h 606896"/>
                  <a:gd name="connsiteX30" fmla="*/ 52267 w 222449"/>
                  <a:gd name="connsiteY30" fmla="*/ 61319 h 606896"/>
                  <a:gd name="connsiteX31" fmla="*/ 52267 w 222449"/>
                  <a:gd name="connsiteY31" fmla="*/ 62611 h 606896"/>
                  <a:gd name="connsiteX32" fmla="*/ 48387 w 222449"/>
                  <a:gd name="connsiteY32" fmla="*/ 180260 h 606896"/>
                  <a:gd name="connsiteX33" fmla="*/ 45801 w 222449"/>
                  <a:gd name="connsiteY33" fmla="*/ 202238 h 606896"/>
                  <a:gd name="connsiteX34" fmla="*/ 40628 w 222449"/>
                  <a:gd name="connsiteY34" fmla="*/ 242316 h 606896"/>
                  <a:gd name="connsiteX35" fmla="*/ 40628 w 222449"/>
                  <a:gd name="connsiteY35" fmla="*/ 246195 h 606896"/>
                  <a:gd name="connsiteX36" fmla="*/ 39334 w 222449"/>
                  <a:gd name="connsiteY36" fmla="*/ 277223 h 606896"/>
                  <a:gd name="connsiteX37" fmla="*/ 40628 w 222449"/>
                  <a:gd name="connsiteY37" fmla="*/ 288858 h 606896"/>
                  <a:gd name="connsiteX38" fmla="*/ 41921 w 222449"/>
                  <a:gd name="connsiteY38" fmla="*/ 296615 h 606896"/>
                  <a:gd name="connsiteX39" fmla="*/ 43214 w 222449"/>
                  <a:gd name="connsiteY39" fmla="*/ 300494 h 606896"/>
                  <a:gd name="connsiteX40" fmla="*/ 47094 w 222449"/>
                  <a:gd name="connsiteY40" fmla="*/ 317301 h 606896"/>
                  <a:gd name="connsiteX41" fmla="*/ 97532 w 222449"/>
                  <a:gd name="connsiteY41" fmla="*/ 446584 h 606896"/>
                  <a:gd name="connsiteX42" fmla="*/ 138917 w 222449"/>
                  <a:gd name="connsiteY42" fmla="*/ 507348 h 606896"/>
                  <a:gd name="connsiteX43" fmla="*/ 194528 w 222449"/>
                  <a:gd name="connsiteY43" fmla="*/ 561647 h 606896"/>
                  <a:gd name="connsiteX44" fmla="*/ 198408 w 222449"/>
                  <a:gd name="connsiteY44" fmla="*/ 564233 h 606896"/>
                  <a:gd name="connsiteX45" fmla="*/ 211341 w 222449"/>
                  <a:gd name="connsiteY45" fmla="*/ 571990 h 606896"/>
                  <a:gd name="connsiteX46" fmla="*/ 220394 w 222449"/>
                  <a:gd name="connsiteY46" fmla="*/ 597846 h 606896"/>
                  <a:gd name="connsiteX47" fmla="*/ 200995 w 222449"/>
                  <a:gd name="connsiteY47" fmla="*/ 606896 h 60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2449" h="606896">
                    <a:moveTo>
                      <a:pt x="200995" y="606896"/>
                    </a:moveTo>
                    <a:cubicBezTo>
                      <a:pt x="198408" y="606896"/>
                      <a:pt x="195822" y="606896"/>
                      <a:pt x="193235" y="605603"/>
                    </a:cubicBezTo>
                    <a:cubicBezTo>
                      <a:pt x="186769" y="601725"/>
                      <a:pt x="180303" y="597846"/>
                      <a:pt x="173836" y="593968"/>
                    </a:cubicBezTo>
                    <a:lnTo>
                      <a:pt x="169956" y="591382"/>
                    </a:lnTo>
                    <a:cubicBezTo>
                      <a:pt x="147970" y="574575"/>
                      <a:pt x="125984" y="553890"/>
                      <a:pt x="107878" y="531912"/>
                    </a:cubicBezTo>
                    <a:cubicBezTo>
                      <a:pt x="91066" y="511226"/>
                      <a:pt x="75546" y="489248"/>
                      <a:pt x="62613" y="465977"/>
                    </a:cubicBezTo>
                    <a:cubicBezTo>
                      <a:pt x="38041" y="422020"/>
                      <a:pt x="21229" y="376771"/>
                      <a:pt x="8296" y="326350"/>
                    </a:cubicBezTo>
                    <a:cubicBezTo>
                      <a:pt x="7002" y="319886"/>
                      <a:pt x="5709" y="313422"/>
                      <a:pt x="4415" y="306958"/>
                    </a:cubicBezTo>
                    <a:lnTo>
                      <a:pt x="3122" y="303079"/>
                    </a:lnTo>
                    <a:cubicBezTo>
                      <a:pt x="3122" y="300494"/>
                      <a:pt x="1829" y="297908"/>
                      <a:pt x="1829" y="295322"/>
                    </a:cubicBezTo>
                    <a:cubicBezTo>
                      <a:pt x="536" y="288858"/>
                      <a:pt x="536" y="283687"/>
                      <a:pt x="536" y="279808"/>
                    </a:cubicBezTo>
                    <a:cubicBezTo>
                      <a:pt x="-757" y="264294"/>
                      <a:pt x="536" y="253951"/>
                      <a:pt x="1829" y="243609"/>
                    </a:cubicBezTo>
                    <a:lnTo>
                      <a:pt x="1829" y="238437"/>
                    </a:lnTo>
                    <a:cubicBezTo>
                      <a:pt x="3122" y="222923"/>
                      <a:pt x="4415" y="209995"/>
                      <a:pt x="7002" y="197067"/>
                    </a:cubicBezTo>
                    <a:cubicBezTo>
                      <a:pt x="8296" y="189310"/>
                      <a:pt x="8296" y="182845"/>
                      <a:pt x="9589" y="175088"/>
                    </a:cubicBezTo>
                    <a:cubicBezTo>
                      <a:pt x="14762" y="132425"/>
                      <a:pt x="17348" y="97518"/>
                      <a:pt x="13468" y="66490"/>
                    </a:cubicBezTo>
                    <a:lnTo>
                      <a:pt x="13468" y="65197"/>
                    </a:lnTo>
                    <a:cubicBezTo>
                      <a:pt x="9589" y="32876"/>
                      <a:pt x="32868" y="4434"/>
                      <a:pt x="63907" y="555"/>
                    </a:cubicBezTo>
                    <a:cubicBezTo>
                      <a:pt x="91066" y="-3323"/>
                      <a:pt x="116931" y="13484"/>
                      <a:pt x="125984" y="39341"/>
                    </a:cubicBezTo>
                    <a:cubicBezTo>
                      <a:pt x="142797" y="85883"/>
                      <a:pt x="147970" y="131132"/>
                      <a:pt x="153143" y="177674"/>
                    </a:cubicBezTo>
                    <a:cubicBezTo>
                      <a:pt x="154437" y="185431"/>
                      <a:pt x="154437" y="193188"/>
                      <a:pt x="155730" y="200945"/>
                    </a:cubicBezTo>
                    <a:cubicBezTo>
                      <a:pt x="157024" y="213874"/>
                      <a:pt x="158317" y="226802"/>
                      <a:pt x="159610" y="238437"/>
                    </a:cubicBezTo>
                    <a:cubicBezTo>
                      <a:pt x="166076" y="284980"/>
                      <a:pt x="185475" y="306958"/>
                      <a:pt x="191942" y="314715"/>
                    </a:cubicBezTo>
                    <a:cubicBezTo>
                      <a:pt x="199702" y="322472"/>
                      <a:pt x="199702" y="334107"/>
                      <a:pt x="193235" y="341864"/>
                    </a:cubicBezTo>
                    <a:cubicBezTo>
                      <a:pt x="185475" y="349622"/>
                      <a:pt x="173836" y="349622"/>
                      <a:pt x="166076" y="343157"/>
                    </a:cubicBezTo>
                    <a:cubicBezTo>
                      <a:pt x="153143" y="330229"/>
                      <a:pt x="129864" y="301786"/>
                      <a:pt x="120811" y="243609"/>
                    </a:cubicBezTo>
                    <a:cubicBezTo>
                      <a:pt x="119518" y="230680"/>
                      <a:pt x="118225" y="217752"/>
                      <a:pt x="116931" y="204824"/>
                    </a:cubicBezTo>
                    <a:cubicBezTo>
                      <a:pt x="115638" y="197067"/>
                      <a:pt x="115638" y="189310"/>
                      <a:pt x="114345" y="181553"/>
                    </a:cubicBezTo>
                    <a:cubicBezTo>
                      <a:pt x="109172" y="136303"/>
                      <a:pt x="103998" y="94932"/>
                      <a:pt x="89773" y="52269"/>
                    </a:cubicBezTo>
                    <a:cubicBezTo>
                      <a:pt x="87186" y="43219"/>
                      <a:pt x="78133" y="38048"/>
                      <a:pt x="69080" y="39341"/>
                    </a:cubicBezTo>
                    <a:cubicBezTo>
                      <a:pt x="58733" y="40633"/>
                      <a:pt x="50974" y="50976"/>
                      <a:pt x="52267" y="61319"/>
                    </a:cubicBezTo>
                    <a:lnTo>
                      <a:pt x="52267" y="62611"/>
                    </a:lnTo>
                    <a:cubicBezTo>
                      <a:pt x="56147" y="97518"/>
                      <a:pt x="53561" y="135010"/>
                      <a:pt x="48387" y="180260"/>
                    </a:cubicBezTo>
                    <a:cubicBezTo>
                      <a:pt x="47094" y="188017"/>
                      <a:pt x="47094" y="194481"/>
                      <a:pt x="45801" y="202238"/>
                    </a:cubicBezTo>
                    <a:cubicBezTo>
                      <a:pt x="44508" y="215166"/>
                      <a:pt x="41921" y="228095"/>
                      <a:pt x="40628" y="242316"/>
                    </a:cubicBezTo>
                    <a:lnTo>
                      <a:pt x="40628" y="246195"/>
                    </a:lnTo>
                    <a:cubicBezTo>
                      <a:pt x="39334" y="256537"/>
                      <a:pt x="39334" y="265587"/>
                      <a:pt x="39334" y="277223"/>
                    </a:cubicBezTo>
                    <a:cubicBezTo>
                      <a:pt x="39334" y="279808"/>
                      <a:pt x="40628" y="284980"/>
                      <a:pt x="40628" y="288858"/>
                    </a:cubicBezTo>
                    <a:cubicBezTo>
                      <a:pt x="40628" y="292737"/>
                      <a:pt x="41921" y="294030"/>
                      <a:pt x="41921" y="296615"/>
                    </a:cubicBezTo>
                    <a:lnTo>
                      <a:pt x="43214" y="300494"/>
                    </a:lnTo>
                    <a:cubicBezTo>
                      <a:pt x="44508" y="305665"/>
                      <a:pt x="45801" y="312129"/>
                      <a:pt x="47094" y="317301"/>
                    </a:cubicBezTo>
                    <a:cubicBezTo>
                      <a:pt x="58733" y="363843"/>
                      <a:pt x="75546" y="406506"/>
                      <a:pt x="97532" y="446584"/>
                    </a:cubicBezTo>
                    <a:cubicBezTo>
                      <a:pt x="109172" y="468563"/>
                      <a:pt x="123398" y="487955"/>
                      <a:pt x="138917" y="507348"/>
                    </a:cubicBezTo>
                    <a:cubicBezTo>
                      <a:pt x="155730" y="526740"/>
                      <a:pt x="175129" y="544840"/>
                      <a:pt x="194528" y="561647"/>
                    </a:cubicBezTo>
                    <a:lnTo>
                      <a:pt x="198408" y="564233"/>
                    </a:lnTo>
                    <a:cubicBezTo>
                      <a:pt x="202289" y="566818"/>
                      <a:pt x="206168" y="569404"/>
                      <a:pt x="211341" y="571990"/>
                    </a:cubicBezTo>
                    <a:cubicBezTo>
                      <a:pt x="220394" y="577161"/>
                      <a:pt x="225568" y="587504"/>
                      <a:pt x="220394" y="597846"/>
                    </a:cubicBezTo>
                    <a:cubicBezTo>
                      <a:pt x="215222" y="603018"/>
                      <a:pt x="207461" y="606896"/>
                      <a:pt x="200995" y="606896"/>
                    </a:cubicBezTo>
                    <a:close/>
                  </a:path>
                </a:pathLst>
              </a:custGeom>
              <a:grpFill/>
              <a:ln w="12931" cap="flat">
                <a:noFill/>
                <a:prstDash val="solid"/>
                <a:miter/>
              </a:ln>
            </p:spPr>
            <p:txBody>
              <a:bodyPr rtlCol="0" anchor="ctr"/>
              <a:lstStyle/>
              <a:p>
                <a:endParaRPr lang="en-US"/>
              </a:p>
            </p:txBody>
          </p:sp>
          <p:sp>
            <p:nvSpPr>
              <p:cNvPr id="9" name="Freeform 51">
                <a:extLst>
                  <a:ext uri="{FF2B5EF4-FFF2-40B4-BE49-F238E27FC236}">
                    <a16:creationId xmlns:a16="http://schemas.microsoft.com/office/drawing/2014/main" id="{01DE2A78-3920-D61B-BAD8-A193E28DE381}"/>
                  </a:ext>
                </a:extLst>
              </p:cNvPr>
              <p:cNvSpPr/>
              <p:nvPr/>
            </p:nvSpPr>
            <p:spPr>
              <a:xfrm>
                <a:off x="9683286" y="3335599"/>
                <a:ext cx="163004" cy="201164"/>
              </a:xfrm>
              <a:custGeom>
                <a:avLst/>
                <a:gdLst>
                  <a:gd name="connsiteX0" fmla="*/ 143605 w 163004"/>
                  <a:gd name="connsiteY0" fmla="*/ 201164 h 201164"/>
                  <a:gd name="connsiteX1" fmla="*/ 124206 w 163004"/>
                  <a:gd name="connsiteY1" fmla="*/ 181772 h 201164"/>
                  <a:gd name="connsiteX2" fmla="*/ 82820 w 163004"/>
                  <a:gd name="connsiteY2" fmla="*/ 57659 h 201164"/>
                  <a:gd name="connsiteX3" fmla="*/ 29796 w 163004"/>
                  <a:gd name="connsiteY3" fmla="*/ 44731 h 201164"/>
                  <a:gd name="connsiteX4" fmla="*/ 2636 w 163004"/>
                  <a:gd name="connsiteY4" fmla="*/ 38266 h 201164"/>
                  <a:gd name="connsiteX5" fmla="*/ 9103 w 163004"/>
                  <a:gd name="connsiteY5" fmla="*/ 11117 h 201164"/>
                  <a:gd name="connsiteX6" fmla="*/ 116445 w 163004"/>
                  <a:gd name="connsiteY6" fmla="*/ 36974 h 201164"/>
                  <a:gd name="connsiteX7" fmla="*/ 163004 w 163004"/>
                  <a:gd name="connsiteY7" fmla="*/ 181772 h 201164"/>
                  <a:gd name="connsiteX8" fmla="*/ 143605 w 163004"/>
                  <a:gd name="connsiteY8" fmla="*/ 201164 h 201164"/>
                  <a:gd name="connsiteX9" fmla="*/ 143605 w 163004"/>
                  <a:gd name="connsiteY9" fmla="*/ 201164 h 20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04" h="201164">
                    <a:moveTo>
                      <a:pt x="143605" y="201164"/>
                    </a:moveTo>
                    <a:cubicBezTo>
                      <a:pt x="133259" y="201164"/>
                      <a:pt x="124206" y="192114"/>
                      <a:pt x="124206" y="181772"/>
                    </a:cubicBezTo>
                    <a:cubicBezTo>
                      <a:pt x="124206" y="132644"/>
                      <a:pt x="108686" y="99030"/>
                      <a:pt x="82820" y="57659"/>
                    </a:cubicBezTo>
                    <a:cubicBezTo>
                      <a:pt x="71180" y="39559"/>
                      <a:pt x="47901" y="33095"/>
                      <a:pt x="29796" y="44731"/>
                    </a:cubicBezTo>
                    <a:cubicBezTo>
                      <a:pt x="20743" y="49902"/>
                      <a:pt x="9103" y="47316"/>
                      <a:pt x="2636" y="38266"/>
                    </a:cubicBezTo>
                    <a:cubicBezTo>
                      <a:pt x="-2536" y="29217"/>
                      <a:pt x="50" y="17581"/>
                      <a:pt x="9103" y="11117"/>
                    </a:cubicBezTo>
                    <a:cubicBezTo>
                      <a:pt x="45315" y="-10861"/>
                      <a:pt x="93166" y="774"/>
                      <a:pt x="116445" y="36974"/>
                    </a:cubicBezTo>
                    <a:cubicBezTo>
                      <a:pt x="144898" y="83516"/>
                      <a:pt x="163004" y="123594"/>
                      <a:pt x="163004" y="181772"/>
                    </a:cubicBezTo>
                    <a:cubicBezTo>
                      <a:pt x="163004" y="192114"/>
                      <a:pt x="155244" y="201164"/>
                      <a:pt x="143605" y="201164"/>
                    </a:cubicBezTo>
                    <a:cubicBezTo>
                      <a:pt x="143605" y="201164"/>
                      <a:pt x="143605" y="201164"/>
                      <a:pt x="143605" y="201164"/>
                    </a:cubicBezTo>
                    <a:close/>
                  </a:path>
                </a:pathLst>
              </a:custGeom>
              <a:grpFill/>
              <a:ln w="12931" cap="flat">
                <a:noFill/>
                <a:prstDash val="solid"/>
                <a:miter/>
              </a:ln>
            </p:spPr>
            <p:txBody>
              <a:bodyPr rtlCol="0" anchor="ctr"/>
              <a:lstStyle/>
              <a:p>
                <a:endParaRPr lang="en-US"/>
              </a:p>
            </p:txBody>
          </p:sp>
          <p:sp>
            <p:nvSpPr>
              <p:cNvPr id="10" name="Freeform 52">
                <a:extLst>
                  <a:ext uri="{FF2B5EF4-FFF2-40B4-BE49-F238E27FC236}">
                    <a16:creationId xmlns:a16="http://schemas.microsoft.com/office/drawing/2014/main" id="{2DB2A972-5A02-FA4E-263E-0BAF69A9C8BD}"/>
                  </a:ext>
                </a:extLst>
              </p:cNvPr>
              <p:cNvSpPr/>
              <p:nvPr/>
            </p:nvSpPr>
            <p:spPr>
              <a:xfrm>
                <a:off x="9546086" y="3281250"/>
                <a:ext cx="205957" cy="241291"/>
              </a:xfrm>
              <a:custGeom>
                <a:avLst/>
                <a:gdLst>
                  <a:gd name="connsiteX0" fmla="*/ 187688 w 205957"/>
                  <a:gd name="connsiteY0" fmla="*/ 241292 h 241291"/>
                  <a:gd name="connsiteX1" fmla="*/ 168289 w 205957"/>
                  <a:gd name="connsiteY1" fmla="*/ 224485 h 241291"/>
                  <a:gd name="connsiteX2" fmla="*/ 135957 w 205957"/>
                  <a:gd name="connsiteY2" fmla="*/ 132693 h 241291"/>
                  <a:gd name="connsiteX3" fmla="*/ 108798 w 205957"/>
                  <a:gd name="connsiteY3" fmla="*/ 69344 h 241291"/>
                  <a:gd name="connsiteX4" fmla="*/ 75172 w 205957"/>
                  <a:gd name="connsiteY4" fmla="*/ 39609 h 241291"/>
                  <a:gd name="connsiteX5" fmla="*/ 35081 w 205957"/>
                  <a:gd name="connsiteY5" fmla="*/ 61587 h 241291"/>
                  <a:gd name="connsiteX6" fmla="*/ 7921 w 205957"/>
                  <a:gd name="connsiteY6" fmla="*/ 65466 h 241291"/>
                  <a:gd name="connsiteX7" fmla="*/ 4041 w 205957"/>
                  <a:gd name="connsiteY7" fmla="*/ 38316 h 241291"/>
                  <a:gd name="connsiteX8" fmla="*/ 81639 w 205957"/>
                  <a:gd name="connsiteY8" fmla="*/ 824 h 241291"/>
                  <a:gd name="connsiteX9" fmla="*/ 146303 w 205957"/>
                  <a:gd name="connsiteY9" fmla="*/ 56416 h 241291"/>
                  <a:gd name="connsiteX10" fmla="*/ 170876 w 205957"/>
                  <a:gd name="connsiteY10" fmla="*/ 115887 h 241291"/>
                  <a:gd name="connsiteX11" fmla="*/ 205794 w 205957"/>
                  <a:gd name="connsiteY11" fmla="*/ 218021 h 241291"/>
                  <a:gd name="connsiteX12" fmla="*/ 188981 w 205957"/>
                  <a:gd name="connsiteY12" fmla="*/ 239999 h 241291"/>
                  <a:gd name="connsiteX13" fmla="*/ 187688 w 205957"/>
                  <a:gd name="connsiteY13" fmla="*/ 241292 h 24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57" h="241291">
                    <a:moveTo>
                      <a:pt x="187688" y="241292"/>
                    </a:moveTo>
                    <a:cubicBezTo>
                      <a:pt x="178635" y="241292"/>
                      <a:pt x="169582" y="234828"/>
                      <a:pt x="168289" y="224485"/>
                    </a:cubicBezTo>
                    <a:cubicBezTo>
                      <a:pt x="163115" y="189578"/>
                      <a:pt x="148890" y="161136"/>
                      <a:pt x="135957" y="132693"/>
                    </a:cubicBezTo>
                    <a:cubicBezTo>
                      <a:pt x="126904" y="113301"/>
                      <a:pt x="116557" y="92615"/>
                      <a:pt x="108798" y="69344"/>
                    </a:cubicBezTo>
                    <a:cubicBezTo>
                      <a:pt x="104918" y="59002"/>
                      <a:pt x="91985" y="42195"/>
                      <a:pt x="75172" y="39609"/>
                    </a:cubicBezTo>
                    <a:cubicBezTo>
                      <a:pt x="62239" y="37023"/>
                      <a:pt x="48013" y="44780"/>
                      <a:pt x="35081" y="61587"/>
                    </a:cubicBezTo>
                    <a:cubicBezTo>
                      <a:pt x="28614" y="70637"/>
                      <a:pt x="16974" y="71930"/>
                      <a:pt x="7921" y="65466"/>
                    </a:cubicBezTo>
                    <a:cubicBezTo>
                      <a:pt x="-1131" y="59002"/>
                      <a:pt x="-2425" y="47366"/>
                      <a:pt x="4041" y="38316"/>
                    </a:cubicBezTo>
                    <a:cubicBezTo>
                      <a:pt x="32494" y="-469"/>
                      <a:pt x="64826" y="-1762"/>
                      <a:pt x="81639" y="824"/>
                    </a:cubicBezTo>
                    <a:cubicBezTo>
                      <a:pt x="113971" y="5995"/>
                      <a:pt x="138543" y="33145"/>
                      <a:pt x="146303" y="56416"/>
                    </a:cubicBezTo>
                    <a:cubicBezTo>
                      <a:pt x="154063" y="78394"/>
                      <a:pt x="163115" y="97787"/>
                      <a:pt x="170876" y="115887"/>
                    </a:cubicBezTo>
                    <a:cubicBezTo>
                      <a:pt x="185101" y="145622"/>
                      <a:pt x="200621" y="177943"/>
                      <a:pt x="205794" y="218021"/>
                    </a:cubicBezTo>
                    <a:cubicBezTo>
                      <a:pt x="207087" y="228363"/>
                      <a:pt x="200621" y="238706"/>
                      <a:pt x="188981" y="239999"/>
                    </a:cubicBezTo>
                    <a:cubicBezTo>
                      <a:pt x="188981" y="241292"/>
                      <a:pt x="188981" y="241292"/>
                      <a:pt x="187688" y="241292"/>
                    </a:cubicBezTo>
                    <a:close/>
                  </a:path>
                </a:pathLst>
              </a:custGeom>
              <a:grpFill/>
              <a:ln w="12931" cap="flat">
                <a:noFill/>
                <a:prstDash val="solid"/>
                <a:miter/>
              </a:ln>
            </p:spPr>
            <p:txBody>
              <a:bodyPr rtlCol="0" anchor="ctr"/>
              <a:lstStyle/>
              <a:p>
                <a:endParaRPr lang="en-US"/>
              </a:p>
            </p:txBody>
          </p:sp>
          <p:sp>
            <p:nvSpPr>
              <p:cNvPr id="11" name="Freeform 53">
                <a:extLst>
                  <a:ext uri="{FF2B5EF4-FFF2-40B4-BE49-F238E27FC236}">
                    <a16:creationId xmlns:a16="http://schemas.microsoft.com/office/drawing/2014/main" id="{CA21EFC8-358D-988C-EE99-4AB1618B15FA}"/>
                  </a:ext>
                </a:extLst>
              </p:cNvPr>
              <p:cNvSpPr/>
              <p:nvPr/>
            </p:nvSpPr>
            <p:spPr>
              <a:xfrm>
                <a:off x="9432178" y="3236028"/>
                <a:ext cx="185859" cy="216700"/>
              </a:xfrm>
              <a:custGeom>
                <a:avLst/>
                <a:gdLst>
                  <a:gd name="connsiteX0" fmla="*/ 165801 w 185859"/>
                  <a:gd name="connsiteY0" fmla="*/ 216700 h 216700"/>
                  <a:gd name="connsiteX1" fmla="*/ 147695 w 185859"/>
                  <a:gd name="connsiteY1" fmla="*/ 202479 h 216700"/>
                  <a:gd name="connsiteX2" fmla="*/ 141228 w 185859"/>
                  <a:gd name="connsiteY2" fmla="*/ 179208 h 216700"/>
                  <a:gd name="connsiteX3" fmla="*/ 139935 w 185859"/>
                  <a:gd name="connsiteY3" fmla="*/ 176622 h 216700"/>
                  <a:gd name="connsiteX4" fmla="*/ 102430 w 185859"/>
                  <a:gd name="connsiteY4" fmla="*/ 64146 h 216700"/>
                  <a:gd name="connsiteX5" fmla="*/ 68805 w 185859"/>
                  <a:gd name="connsiteY5" fmla="*/ 38289 h 216700"/>
                  <a:gd name="connsiteX6" fmla="*/ 33886 w 185859"/>
                  <a:gd name="connsiteY6" fmla="*/ 55096 h 216700"/>
                  <a:gd name="connsiteX7" fmla="*/ 6727 w 185859"/>
                  <a:gd name="connsiteY7" fmla="*/ 57681 h 216700"/>
                  <a:gd name="connsiteX8" fmla="*/ 4140 w 185859"/>
                  <a:gd name="connsiteY8" fmla="*/ 30532 h 216700"/>
                  <a:gd name="connsiteX9" fmla="*/ 75271 w 185859"/>
                  <a:gd name="connsiteY9" fmla="*/ 797 h 216700"/>
                  <a:gd name="connsiteX10" fmla="*/ 138642 w 185859"/>
                  <a:gd name="connsiteY10" fmla="*/ 49924 h 216700"/>
                  <a:gd name="connsiteX11" fmla="*/ 177441 w 185859"/>
                  <a:gd name="connsiteY11" fmla="*/ 166280 h 216700"/>
                  <a:gd name="connsiteX12" fmla="*/ 178734 w 185859"/>
                  <a:gd name="connsiteY12" fmla="*/ 168866 h 216700"/>
                  <a:gd name="connsiteX13" fmla="*/ 185200 w 185859"/>
                  <a:gd name="connsiteY13" fmla="*/ 192136 h 216700"/>
                  <a:gd name="connsiteX14" fmla="*/ 172268 w 185859"/>
                  <a:gd name="connsiteY14" fmla="*/ 216700 h 216700"/>
                  <a:gd name="connsiteX15" fmla="*/ 165801 w 185859"/>
                  <a:gd name="connsiteY15" fmla="*/ 216700 h 21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859" h="216700">
                    <a:moveTo>
                      <a:pt x="165801" y="216700"/>
                    </a:moveTo>
                    <a:cubicBezTo>
                      <a:pt x="158042" y="216700"/>
                      <a:pt x="150282" y="211529"/>
                      <a:pt x="147695" y="202479"/>
                    </a:cubicBezTo>
                    <a:cubicBezTo>
                      <a:pt x="145109" y="194722"/>
                      <a:pt x="142522" y="186965"/>
                      <a:pt x="141228" y="179208"/>
                    </a:cubicBezTo>
                    <a:lnTo>
                      <a:pt x="139935" y="176622"/>
                    </a:lnTo>
                    <a:cubicBezTo>
                      <a:pt x="129589" y="141716"/>
                      <a:pt x="123123" y="114566"/>
                      <a:pt x="102430" y="64146"/>
                    </a:cubicBezTo>
                    <a:cubicBezTo>
                      <a:pt x="98550" y="53803"/>
                      <a:pt x="84324" y="40875"/>
                      <a:pt x="68805" y="38289"/>
                    </a:cubicBezTo>
                    <a:cubicBezTo>
                      <a:pt x="55872" y="35703"/>
                      <a:pt x="44232" y="42167"/>
                      <a:pt x="33886" y="55096"/>
                    </a:cubicBezTo>
                    <a:cubicBezTo>
                      <a:pt x="27419" y="62853"/>
                      <a:pt x="14487" y="64146"/>
                      <a:pt x="6727" y="57681"/>
                    </a:cubicBezTo>
                    <a:cubicBezTo>
                      <a:pt x="-1033" y="51217"/>
                      <a:pt x="-2326" y="38289"/>
                      <a:pt x="4140" y="30532"/>
                    </a:cubicBezTo>
                    <a:cubicBezTo>
                      <a:pt x="23540" y="7261"/>
                      <a:pt x="49405" y="-3082"/>
                      <a:pt x="75271" y="797"/>
                    </a:cubicBezTo>
                    <a:cubicBezTo>
                      <a:pt x="102430" y="4675"/>
                      <a:pt x="128296" y="25360"/>
                      <a:pt x="138642" y="49924"/>
                    </a:cubicBezTo>
                    <a:cubicBezTo>
                      <a:pt x="159335" y="102931"/>
                      <a:pt x="167094" y="130080"/>
                      <a:pt x="177441" y="166280"/>
                    </a:cubicBezTo>
                    <a:lnTo>
                      <a:pt x="178734" y="168866"/>
                    </a:lnTo>
                    <a:cubicBezTo>
                      <a:pt x="181321" y="175330"/>
                      <a:pt x="182614" y="183087"/>
                      <a:pt x="185200" y="192136"/>
                    </a:cubicBezTo>
                    <a:cubicBezTo>
                      <a:pt x="187787" y="202479"/>
                      <a:pt x="182614" y="212822"/>
                      <a:pt x="172268" y="216700"/>
                    </a:cubicBezTo>
                    <a:cubicBezTo>
                      <a:pt x="168388" y="215408"/>
                      <a:pt x="167094" y="216700"/>
                      <a:pt x="165801" y="216700"/>
                    </a:cubicBezTo>
                    <a:close/>
                  </a:path>
                </a:pathLst>
              </a:custGeom>
              <a:grpFill/>
              <a:ln w="12931" cap="flat">
                <a:noFill/>
                <a:prstDash val="solid"/>
                <a:miter/>
              </a:ln>
            </p:spPr>
            <p:txBody>
              <a:bodyPr rtlCol="0" anchor="ctr"/>
              <a:lstStyle/>
              <a:p>
                <a:endParaRPr lang="en-US"/>
              </a:p>
            </p:txBody>
          </p:sp>
          <p:sp>
            <p:nvSpPr>
              <p:cNvPr id="12" name="Freeform 54">
                <a:extLst>
                  <a:ext uri="{FF2B5EF4-FFF2-40B4-BE49-F238E27FC236}">
                    <a16:creationId xmlns:a16="http://schemas.microsoft.com/office/drawing/2014/main" id="{03E4420E-05EC-A409-9E60-2324F2796567}"/>
                  </a:ext>
                </a:extLst>
              </p:cNvPr>
              <p:cNvSpPr/>
              <p:nvPr/>
            </p:nvSpPr>
            <p:spPr>
              <a:xfrm>
                <a:off x="9312890" y="3851649"/>
                <a:ext cx="85195" cy="252669"/>
              </a:xfrm>
              <a:custGeom>
                <a:avLst/>
                <a:gdLst>
                  <a:gd name="connsiteX0" fmla="*/ 65230 w 85195"/>
                  <a:gd name="connsiteY0" fmla="*/ 252669 h 252669"/>
                  <a:gd name="connsiteX1" fmla="*/ 45831 w 85195"/>
                  <a:gd name="connsiteY1" fmla="*/ 237155 h 252669"/>
                  <a:gd name="connsiteX2" fmla="*/ 566 w 85195"/>
                  <a:gd name="connsiteY2" fmla="*/ 23837 h 252669"/>
                  <a:gd name="connsiteX3" fmla="*/ 16086 w 85195"/>
                  <a:gd name="connsiteY3" fmla="*/ 566 h 252669"/>
                  <a:gd name="connsiteX4" fmla="*/ 39365 w 85195"/>
                  <a:gd name="connsiteY4" fmla="*/ 16080 h 252669"/>
                  <a:gd name="connsiteX5" fmla="*/ 84630 w 85195"/>
                  <a:gd name="connsiteY5" fmla="*/ 229398 h 252669"/>
                  <a:gd name="connsiteX6" fmla="*/ 69110 w 85195"/>
                  <a:gd name="connsiteY6" fmla="*/ 252669 h 252669"/>
                  <a:gd name="connsiteX7" fmla="*/ 65230 w 85195"/>
                  <a:gd name="connsiteY7" fmla="*/ 252669 h 2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95" h="252669">
                    <a:moveTo>
                      <a:pt x="65230" y="252669"/>
                    </a:moveTo>
                    <a:cubicBezTo>
                      <a:pt x="56177" y="252669"/>
                      <a:pt x="48418" y="246205"/>
                      <a:pt x="45831" y="237155"/>
                    </a:cubicBezTo>
                    <a:lnTo>
                      <a:pt x="566" y="23837"/>
                    </a:lnTo>
                    <a:cubicBezTo>
                      <a:pt x="-2021" y="13494"/>
                      <a:pt x="4446" y="3152"/>
                      <a:pt x="16086" y="566"/>
                    </a:cubicBezTo>
                    <a:cubicBezTo>
                      <a:pt x="26432" y="-2020"/>
                      <a:pt x="36778" y="4444"/>
                      <a:pt x="39365" y="16080"/>
                    </a:cubicBezTo>
                    <a:lnTo>
                      <a:pt x="84630" y="229398"/>
                    </a:lnTo>
                    <a:cubicBezTo>
                      <a:pt x="87217" y="239741"/>
                      <a:pt x="80750" y="250084"/>
                      <a:pt x="69110" y="252669"/>
                    </a:cubicBezTo>
                    <a:cubicBezTo>
                      <a:pt x="67817" y="252669"/>
                      <a:pt x="66523" y="252669"/>
                      <a:pt x="65230" y="252669"/>
                    </a:cubicBezTo>
                    <a:close/>
                  </a:path>
                </a:pathLst>
              </a:custGeom>
              <a:grpFill/>
              <a:ln w="12931" cap="flat">
                <a:noFill/>
                <a:prstDash val="solid"/>
                <a:miter/>
              </a:ln>
            </p:spPr>
            <p:txBody>
              <a:bodyPr rtlCol="0" anchor="ctr"/>
              <a:lstStyle/>
              <a:p>
                <a:endParaRPr lang="en-US"/>
              </a:p>
            </p:txBody>
          </p:sp>
          <p:sp>
            <p:nvSpPr>
              <p:cNvPr id="13" name="Freeform 55">
                <a:extLst>
                  <a:ext uri="{FF2B5EF4-FFF2-40B4-BE49-F238E27FC236}">
                    <a16:creationId xmlns:a16="http://schemas.microsoft.com/office/drawing/2014/main" id="{68100D80-1E6C-92D4-72EF-A5FEC623F36E}"/>
                  </a:ext>
                </a:extLst>
              </p:cNvPr>
              <p:cNvSpPr/>
              <p:nvPr/>
            </p:nvSpPr>
            <p:spPr>
              <a:xfrm>
                <a:off x="9682801" y="3503025"/>
                <a:ext cx="163613" cy="602585"/>
              </a:xfrm>
              <a:custGeom>
                <a:avLst/>
                <a:gdLst>
                  <a:gd name="connsiteX0" fmla="*/ 62614 w 163613"/>
                  <a:gd name="connsiteY0" fmla="*/ 601293 h 602585"/>
                  <a:gd name="connsiteX1" fmla="*/ 43215 w 163613"/>
                  <a:gd name="connsiteY1" fmla="*/ 585779 h 602585"/>
                  <a:gd name="connsiteX2" fmla="*/ 536 w 163613"/>
                  <a:gd name="connsiteY2" fmla="*/ 340140 h 602585"/>
                  <a:gd name="connsiteX3" fmla="*/ 1829 w 163613"/>
                  <a:gd name="connsiteY3" fmla="*/ 328504 h 602585"/>
                  <a:gd name="connsiteX4" fmla="*/ 5709 w 163613"/>
                  <a:gd name="connsiteY4" fmla="*/ 319454 h 602585"/>
                  <a:gd name="connsiteX5" fmla="*/ 124691 w 163613"/>
                  <a:gd name="connsiteY5" fmla="*/ 18223 h 602585"/>
                  <a:gd name="connsiteX6" fmla="*/ 145384 w 163613"/>
                  <a:gd name="connsiteY6" fmla="*/ 123 h 602585"/>
                  <a:gd name="connsiteX7" fmla="*/ 163490 w 163613"/>
                  <a:gd name="connsiteY7" fmla="*/ 20809 h 602585"/>
                  <a:gd name="connsiteX8" fmla="*/ 40628 w 163613"/>
                  <a:gd name="connsiteY8" fmla="*/ 336261 h 602585"/>
                  <a:gd name="connsiteX9" fmla="*/ 39334 w 163613"/>
                  <a:gd name="connsiteY9" fmla="*/ 340140 h 602585"/>
                  <a:gd name="connsiteX10" fmla="*/ 80719 w 163613"/>
                  <a:gd name="connsiteY10" fmla="*/ 580608 h 602585"/>
                  <a:gd name="connsiteX11" fmla="*/ 65200 w 163613"/>
                  <a:gd name="connsiteY11" fmla="*/ 602586 h 602585"/>
                  <a:gd name="connsiteX12" fmla="*/ 62614 w 163613"/>
                  <a:gd name="connsiteY12" fmla="*/ 601293 h 60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613" h="602585">
                    <a:moveTo>
                      <a:pt x="62614" y="601293"/>
                    </a:moveTo>
                    <a:cubicBezTo>
                      <a:pt x="53561" y="601293"/>
                      <a:pt x="45801" y="594829"/>
                      <a:pt x="43215" y="585779"/>
                    </a:cubicBezTo>
                    <a:lnTo>
                      <a:pt x="536" y="340140"/>
                    </a:lnTo>
                    <a:cubicBezTo>
                      <a:pt x="-757" y="336261"/>
                      <a:pt x="536" y="332383"/>
                      <a:pt x="1829" y="328504"/>
                    </a:cubicBezTo>
                    <a:lnTo>
                      <a:pt x="5709" y="319454"/>
                    </a:lnTo>
                    <a:cubicBezTo>
                      <a:pt x="57440" y="208270"/>
                      <a:pt x="120812" y="71230"/>
                      <a:pt x="124691" y="18223"/>
                    </a:cubicBezTo>
                    <a:cubicBezTo>
                      <a:pt x="125984" y="7881"/>
                      <a:pt x="135038" y="-1169"/>
                      <a:pt x="145384" y="123"/>
                    </a:cubicBezTo>
                    <a:cubicBezTo>
                      <a:pt x="155730" y="1416"/>
                      <a:pt x="164783" y="10466"/>
                      <a:pt x="163490" y="20809"/>
                    </a:cubicBezTo>
                    <a:cubicBezTo>
                      <a:pt x="159610" y="81572"/>
                      <a:pt x="96239" y="216027"/>
                      <a:pt x="40628" y="336261"/>
                    </a:cubicBezTo>
                    <a:lnTo>
                      <a:pt x="39334" y="340140"/>
                    </a:lnTo>
                    <a:lnTo>
                      <a:pt x="80719" y="580608"/>
                    </a:lnTo>
                    <a:cubicBezTo>
                      <a:pt x="82013" y="590950"/>
                      <a:pt x="75547" y="601293"/>
                      <a:pt x="65200" y="602586"/>
                    </a:cubicBezTo>
                    <a:cubicBezTo>
                      <a:pt x="65200" y="601293"/>
                      <a:pt x="63907" y="601293"/>
                      <a:pt x="62614" y="601293"/>
                    </a:cubicBezTo>
                    <a:close/>
                  </a:path>
                </a:pathLst>
              </a:custGeom>
              <a:grpFill/>
              <a:ln w="12931" cap="flat">
                <a:noFill/>
                <a:prstDash val="solid"/>
                <a:miter/>
              </a:ln>
            </p:spPr>
            <p:txBody>
              <a:bodyPr rtlCol="0" anchor="ctr"/>
              <a:lstStyle/>
              <a:p>
                <a:endParaRPr lang="en-US"/>
              </a:p>
            </p:txBody>
          </p:sp>
          <p:sp>
            <p:nvSpPr>
              <p:cNvPr id="14" name="Freeform 56">
                <a:extLst>
                  <a:ext uri="{FF2B5EF4-FFF2-40B4-BE49-F238E27FC236}">
                    <a16:creationId xmlns:a16="http://schemas.microsoft.com/office/drawing/2014/main" id="{9E7C871A-8AE6-25AD-5B3E-6086EA8AF26F}"/>
                  </a:ext>
                </a:extLst>
              </p:cNvPr>
              <p:cNvSpPr/>
              <p:nvPr/>
            </p:nvSpPr>
            <p:spPr>
              <a:xfrm>
                <a:off x="9285004" y="2893887"/>
                <a:ext cx="193992" cy="790259"/>
              </a:xfrm>
              <a:custGeom>
                <a:avLst/>
                <a:gdLst>
                  <a:gd name="connsiteX0" fmla="*/ 19399 w 193992"/>
                  <a:gd name="connsiteY0" fmla="*/ 790259 h 790259"/>
                  <a:gd name="connsiteX1" fmla="*/ 0 w 193992"/>
                  <a:gd name="connsiteY1" fmla="*/ 770867 h 790259"/>
                  <a:gd name="connsiteX2" fmla="*/ 11640 w 193992"/>
                  <a:gd name="connsiteY2" fmla="*/ 620898 h 790259"/>
                  <a:gd name="connsiteX3" fmla="*/ 20693 w 193992"/>
                  <a:gd name="connsiteY3" fmla="*/ 543327 h 790259"/>
                  <a:gd name="connsiteX4" fmla="*/ 25866 w 193992"/>
                  <a:gd name="connsiteY4" fmla="*/ 306738 h 790259"/>
                  <a:gd name="connsiteX5" fmla="*/ 24573 w 193992"/>
                  <a:gd name="connsiteY5" fmla="*/ 267953 h 790259"/>
                  <a:gd name="connsiteX6" fmla="*/ 23279 w 193992"/>
                  <a:gd name="connsiteY6" fmla="*/ 183919 h 790259"/>
                  <a:gd name="connsiteX7" fmla="*/ 38799 w 193992"/>
                  <a:gd name="connsiteY7" fmla="*/ 48171 h 790259"/>
                  <a:gd name="connsiteX8" fmla="*/ 115103 w 193992"/>
                  <a:gd name="connsiteY8" fmla="*/ 1628 h 790259"/>
                  <a:gd name="connsiteX9" fmla="*/ 162955 w 193992"/>
                  <a:gd name="connsiteY9" fmla="*/ 71442 h 790259"/>
                  <a:gd name="connsiteX10" fmla="*/ 161661 w 193992"/>
                  <a:gd name="connsiteY10" fmla="*/ 177454 h 790259"/>
                  <a:gd name="connsiteX11" fmla="*/ 170714 w 193992"/>
                  <a:gd name="connsiteY11" fmla="*/ 256317 h 790259"/>
                  <a:gd name="connsiteX12" fmla="*/ 175887 w 193992"/>
                  <a:gd name="connsiteY12" fmla="*/ 296395 h 790259"/>
                  <a:gd name="connsiteX13" fmla="*/ 187526 w 193992"/>
                  <a:gd name="connsiteY13" fmla="*/ 419215 h 790259"/>
                  <a:gd name="connsiteX14" fmla="*/ 193993 w 193992"/>
                  <a:gd name="connsiteY14" fmla="*/ 543327 h 790259"/>
                  <a:gd name="connsiteX15" fmla="*/ 175887 w 193992"/>
                  <a:gd name="connsiteY15" fmla="*/ 564013 h 790259"/>
                  <a:gd name="connsiteX16" fmla="*/ 155194 w 193992"/>
                  <a:gd name="connsiteY16" fmla="*/ 545913 h 790259"/>
                  <a:gd name="connsiteX17" fmla="*/ 148728 w 193992"/>
                  <a:gd name="connsiteY17" fmla="*/ 423093 h 790259"/>
                  <a:gd name="connsiteX18" fmla="*/ 137089 w 193992"/>
                  <a:gd name="connsiteY18" fmla="*/ 301567 h 790259"/>
                  <a:gd name="connsiteX19" fmla="*/ 131915 w 193992"/>
                  <a:gd name="connsiteY19" fmla="*/ 261489 h 790259"/>
                  <a:gd name="connsiteX20" fmla="*/ 122862 w 193992"/>
                  <a:gd name="connsiteY20" fmla="*/ 181333 h 790259"/>
                  <a:gd name="connsiteX21" fmla="*/ 124156 w 193992"/>
                  <a:gd name="connsiteY21" fmla="*/ 66270 h 790259"/>
                  <a:gd name="connsiteX22" fmla="*/ 106050 w 193992"/>
                  <a:gd name="connsiteY22" fmla="*/ 37828 h 790259"/>
                  <a:gd name="connsiteX23" fmla="*/ 87943 w 193992"/>
                  <a:gd name="connsiteY23" fmla="*/ 40413 h 790259"/>
                  <a:gd name="connsiteX24" fmla="*/ 76304 w 193992"/>
                  <a:gd name="connsiteY24" fmla="*/ 55927 h 790259"/>
                  <a:gd name="connsiteX25" fmla="*/ 62078 w 193992"/>
                  <a:gd name="connsiteY25" fmla="*/ 182626 h 790259"/>
                  <a:gd name="connsiteX26" fmla="*/ 63371 w 193992"/>
                  <a:gd name="connsiteY26" fmla="*/ 265367 h 790259"/>
                  <a:gd name="connsiteX27" fmla="*/ 64664 w 193992"/>
                  <a:gd name="connsiteY27" fmla="*/ 304152 h 790259"/>
                  <a:gd name="connsiteX28" fmla="*/ 59492 w 193992"/>
                  <a:gd name="connsiteY28" fmla="*/ 543327 h 790259"/>
                  <a:gd name="connsiteX29" fmla="*/ 50438 w 193992"/>
                  <a:gd name="connsiteY29" fmla="*/ 624776 h 790259"/>
                  <a:gd name="connsiteX30" fmla="*/ 38799 w 193992"/>
                  <a:gd name="connsiteY30" fmla="*/ 768281 h 790259"/>
                  <a:gd name="connsiteX31" fmla="*/ 19399 w 193992"/>
                  <a:gd name="connsiteY31" fmla="*/ 790259 h 79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992" h="790259">
                    <a:moveTo>
                      <a:pt x="19399" y="790259"/>
                    </a:moveTo>
                    <a:cubicBezTo>
                      <a:pt x="9053" y="790259"/>
                      <a:pt x="0" y="781209"/>
                      <a:pt x="0" y="770867"/>
                    </a:cubicBezTo>
                    <a:cubicBezTo>
                      <a:pt x="0" y="697175"/>
                      <a:pt x="6466" y="658390"/>
                      <a:pt x="11640" y="620898"/>
                    </a:cubicBezTo>
                    <a:cubicBezTo>
                      <a:pt x="15520" y="597627"/>
                      <a:pt x="18106" y="574355"/>
                      <a:pt x="20693" y="543327"/>
                    </a:cubicBezTo>
                    <a:cubicBezTo>
                      <a:pt x="25866" y="461879"/>
                      <a:pt x="27159" y="384308"/>
                      <a:pt x="25866" y="306738"/>
                    </a:cubicBezTo>
                    <a:cubicBezTo>
                      <a:pt x="25866" y="293810"/>
                      <a:pt x="25866" y="280881"/>
                      <a:pt x="24573" y="267953"/>
                    </a:cubicBezTo>
                    <a:cubicBezTo>
                      <a:pt x="24573" y="240803"/>
                      <a:pt x="23279" y="212361"/>
                      <a:pt x="23279" y="183919"/>
                    </a:cubicBezTo>
                    <a:cubicBezTo>
                      <a:pt x="23279" y="134791"/>
                      <a:pt x="28452" y="89541"/>
                      <a:pt x="38799" y="48171"/>
                    </a:cubicBezTo>
                    <a:cubicBezTo>
                      <a:pt x="46559" y="14557"/>
                      <a:pt x="81477" y="-6129"/>
                      <a:pt x="115103" y="1628"/>
                    </a:cubicBezTo>
                    <a:cubicBezTo>
                      <a:pt x="146141" y="9385"/>
                      <a:pt x="166834" y="39121"/>
                      <a:pt x="162955" y="71442"/>
                    </a:cubicBezTo>
                    <a:cubicBezTo>
                      <a:pt x="157781" y="105055"/>
                      <a:pt x="157781" y="138669"/>
                      <a:pt x="161661" y="177454"/>
                    </a:cubicBezTo>
                    <a:cubicBezTo>
                      <a:pt x="164247" y="203311"/>
                      <a:pt x="166834" y="229168"/>
                      <a:pt x="170714" y="256317"/>
                    </a:cubicBezTo>
                    <a:cubicBezTo>
                      <a:pt x="172007" y="269246"/>
                      <a:pt x="173301" y="283467"/>
                      <a:pt x="175887" y="296395"/>
                    </a:cubicBezTo>
                    <a:cubicBezTo>
                      <a:pt x="181060" y="337766"/>
                      <a:pt x="184940" y="379137"/>
                      <a:pt x="187526" y="419215"/>
                    </a:cubicBezTo>
                    <a:cubicBezTo>
                      <a:pt x="191406" y="461879"/>
                      <a:pt x="192700" y="505835"/>
                      <a:pt x="193993" y="543327"/>
                    </a:cubicBezTo>
                    <a:cubicBezTo>
                      <a:pt x="193993" y="553670"/>
                      <a:pt x="186234" y="562720"/>
                      <a:pt x="175887" y="564013"/>
                    </a:cubicBezTo>
                    <a:cubicBezTo>
                      <a:pt x="165540" y="564013"/>
                      <a:pt x="156488" y="556256"/>
                      <a:pt x="155194" y="545913"/>
                    </a:cubicBezTo>
                    <a:cubicBezTo>
                      <a:pt x="153901" y="508421"/>
                      <a:pt x="151315" y="465757"/>
                      <a:pt x="148728" y="423093"/>
                    </a:cubicBezTo>
                    <a:cubicBezTo>
                      <a:pt x="146141" y="383015"/>
                      <a:pt x="142261" y="341645"/>
                      <a:pt x="137089" y="301567"/>
                    </a:cubicBezTo>
                    <a:cubicBezTo>
                      <a:pt x="135795" y="288638"/>
                      <a:pt x="134502" y="274417"/>
                      <a:pt x="131915" y="261489"/>
                    </a:cubicBezTo>
                    <a:cubicBezTo>
                      <a:pt x="128036" y="234339"/>
                      <a:pt x="125449" y="207190"/>
                      <a:pt x="122862" y="181333"/>
                    </a:cubicBezTo>
                    <a:cubicBezTo>
                      <a:pt x="118982" y="138669"/>
                      <a:pt x="118982" y="102470"/>
                      <a:pt x="124156" y="66270"/>
                    </a:cubicBezTo>
                    <a:cubicBezTo>
                      <a:pt x="125449" y="53342"/>
                      <a:pt x="117690" y="41706"/>
                      <a:pt x="106050" y="37828"/>
                    </a:cubicBezTo>
                    <a:cubicBezTo>
                      <a:pt x="99583" y="36535"/>
                      <a:pt x="93117" y="37828"/>
                      <a:pt x="87943" y="40413"/>
                    </a:cubicBezTo>
                    <a:cubicBezTo>
                      <a:pt x="82771" y="44292"/>
                      <a:pt x="78891" y="49463"/>
                      <a:pt x="76304" y="55927"/>
                    </a:cubicBezTo>
                    <a:cubicBezTo>
                      <a:pt x="67251" y="93420"/>
                      <a:pt x="62078" y="136084"/>
                      <a:pt x="62078" y="182626"/>
                    </a:cubicBezTo>
                    <a:cubicBezTo>
                      <a:pt x="62078" y="211068"/>
                      <a:pt x="62078" y="238218"/>
                      <a:pt x="63371" y="265367"/>
                    </a:cubicBezTo>
                    <a:cubicBezTo>
                      <a:pt x="63371" y="278296"/>
                      <a:pt x="63371" y="291224"/>
                      <a:pt x="64664" y="304152"/>
                    </a:cubicBezTo>
                    <a:cubicBezTo>
                      <a:pt x="65958" y="383015"/>
                      <a:pt x="64664" y="460586"/>
                      <a:pt x="59492" y="543327"/>
                    </a:cubicBezTo>
                    <a:cubicBezTo>
                      <a:pt x="56905" y="576941"/>
                      <a:pt x="54318" y="601505"/>
                      <a:pt x="50438" y="624776"/>
                    </a:cubicBezTo>
                    <a:cubicBezTo>
                      <a:pt x="45265" y="660976"/>
                      <a:pt x="38799" y="698468"/>
                      <a:pt x="38799" y="768281"/>
                    </a:cubicBezTo>
                    <a:cubicBezTo>
                      <a:pt x="38799" y="782502"/>
                      <a:pt x="29745" y="790259"/>
                      <a:pt x="19399" y="790259"/>
                    </a:cubicBezTo>
                    <a:close/>
                  </a:path>
                </a:pathLst>
              </a:custGeom>
              <a:grpFill/>
              <a:ln w="12931" cap="flat">
                <a:noFill/>
                <a:prstDash val="solid"/>
                <a:miter/>
              </a:ln>
            </p:spPr>
            <p:txBody>
              <a:bodyPr rtlCol="0" anchor="ctr"/>
              <a:lstStyle/>
              <a:p>
                <a:endParaRPr lang="en-US"/>
              </a:p>
            </p:txBody>
          </p:sp>
        </p:grpSp>
      </p:grpSp>
      <p:pic>
        <p:nvPicPr>
          <p:cNvPr id="2" name="Picture Placeholder 17" descr="Close up of heart shaped pages of a book">
            <a:extLst>
              <a:ext uri="{FF2B5EF4-FFF2-40B4-BE49-F238E27FC236}">
                <a16:creationId xmlns:a16="http://schemas.microsoft.com/office/drawing/2014/main" id="{2F8141D9-F357-5D50-512D-32DCB48B1FD3}"/>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1408" r="21408"/>
          <a:stretch/>
        </p:blipFill>
        <p:spPr>
          <a:xfrm>
            <a:off x="0" y="0"/>
            <a:ext cx="5875338" cy="6858000"/>
          </a:xfrm>
        </p:spPr>
      </p:pic>
    </p:spTree>
    <p:extLst>
      <p:ext uri="{BB962C8B-B14F-4D97-AF65-F5344CB8AC3E}">
        <p14:creationId xmlns:p14="http://schemas.microsoft.com/office/powerpoint/2010/main" val="31952794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4575CB-98A6-1565-118B-9521932AA3B7}"/>
              </a:ext>
            </a:extLst>
          </p:cNvPr>
          <p:cNvGraphicFramePr>
            <a:graphicFrameLocks noChangeAspect="1"/>
          </p:cNvGraphicFramePr>
          <p:nvPr>
            <p:custDataLst>
              <p:tags r:id="rId1"/>
            </p:custDataLst>
            <p:extLst>
              <p:ext uri="{D42A27DB-BD31-4B8C-83A1-F6EECF244321}">
                <p14:modId xmlns:p14="http://schemas.microsoft.com/office/powerpoint/2010/main" val="178310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Wildflowers in a meadow with a sunrise">
            <a:extLst>
              <a:ext uri="{FF2B5EF4-FFF2-40B4-BE49-F238E27FC236}">
                <a16:creationId xmlns:a16="http://schemas.microsoft.com/office/drawing/2014/main" id="{DF087C56-22D3-DC08-6926-1A7947947749}"/>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418" b="6418"/>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US" b="1" dirty="0"/>
              <a:t>VERANTWORTUNG FÜR DIE UMWELT</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4</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490275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ED0EDAF-63DD-CC42-17A8-929BF918C915}"/>
              </a:ext>
            </a:extLst>
          </p:cNvPr>
          <p:cNvGraphicFramePr>
            <a:graphicFrameLocks noChangeAspect="1"/>
          </p:cNvGraphicFramePr>
          <p:nvPr>
            <p:custDataLst>
              <p:tags r:id="rId1"/>
            </p:custDataLst>
            <p:extLst>
              <p:ext uri="{D42A27DB-BD31-4B8C-83A1-F6EECF244321}">
                <p14:modId xmlns:p14="http://schemas.microsoft.com/office/powerpoint/2010/main" val="2824593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A person holding a globe">
            <a:extLst>
              <a:ext uri="{FF2B5EF4-FFF2-40B4-BE49-F238E27FC236}">
                <a16:creationId xmlns:a16="http://schemas.microsoft.com/office/drawing/2014/main" id="{177D2542-6D51-70EE-40FA-96561EEF1D6F}"/>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8355" r="28355"/>
          <a:stretch>
            <a:fillRect/>
          </a:stretch>
        </p:blipFill>
        <p:spPr>
          <a:xfrm>
            <a:off x="884238" y="0"/>
            <a:ext cx="4994275" cy="6858000"/>
          </a:xfrm>
        </p:spPr>
      </p:pic>
      <p:sp>
        <p:nvSpPr>
          <p:cNvPr id="3" name="Text Placeholder 2">
            <a:extLst>
              <a:ext uri="{FF2B5EF4-FFF2-40B4-BE49-F238E27FC236}">
                <a16:creationId xmlns:a16="http://schemas.microsoft.com/office/drawing/2014/main" id="{19F0A573-4FCC-AB89-C3C0-7549715958A3}"/>
              </a:ext>
            </a:extLst>
          </p:cNvPr>
          <p:cNvSpPr>
            <a:spLocks noGrp="1"/>
          </p:cNvSpPr>
          <p:nvPr>
            <p:ph type="body" sz="quarter" idx="30"/>
          </p:nvPr>
        </p:nvSpPr>
        <p:spPr/>
        <p:txBody>
          <a:bodyPr/>
          <a:lstStyle/>
          <a:p>
            <a:r>
              <a:rPr lang="en-IE" dirty="0"/>
              <a:t>Einführung</a:t>
            </a:r>
          </a:p>
        </p:txBody>
      </p:sp>
      <p:sp>
        <p:nvSpPr>
          <p:cNvPr id="4" name="Text Placeholder 3">
            <a:extLst>
              <a:ext uri="{FF2B5EF4-FFF2-40B4-BE49-F238E27FC236}">
                <a16:creationId xmlns:a16="http://schemas.microsoft.com/office/drawing/2014/main" id="{3E39D10D-9E7B-9E23-EFA4-5AF15B5B356E}"/>
              </a:ext>
            </a:extLst>
          </p:cNvPr>
          <p:cNvSpPr>
            <a:spLocks noGrp="1"/>
          </p:cNvSpPr>
          <p:nvPr>
            <p:ph type="body" sz="quarter" idx="48"/>
          </p:nvPr>
        </p:nvSpPr>
        <p:spPr>
          <a:xfrm>
            <a:off x="6273949" y="1991648"/>
            <a:ext cx="5466698" cy="4456368"/>
          </a:xfrm>
        </p:spPr>
        <p:txBody>
          <a:bodyPr/>
          <a:lstStyle/>
          <a:p>
            <a:r>
              <a:rPr lang="en-GB" sz="2400" dirty="0"/>
              <a:t>Umweltverantwortung umfasst wichtige Grundsätze, die Unternehmen bei der Förderung nachhaltiger Praktiken und der Verringerung ökologischer Auswirkungen unterstützen. </a:t>
            </a:r>
          </a:p>
          <a:p>
            <a:endParaRPr lang="en-GB" sz="2400" dirty="0"/>
          </a:p>
          <a:p>
            <a:r>
              <a:rPr lang="en-GB" sz="2400" b="1" dirty="0"/>
              <a:t>Dieser Abschnitt befasst sich mit grundlegenden Konzepten, die für das Verständnis der Verflechtung zwischen Unternehmenstätigkeit und Umweltgesundheit wichtig sind</a:t>
            </a:r>
            <a:r>
              <a:rPr lang="en-GB" sz="2400" dirty="0"/>
              <a:t>.</a:t>
            </a:r>
            <a:endParaRPr lang="en-IE" sz="2400" dirty="0"/>
          </a:p>
        </p:txBody>
      </p:sp>
    </p:spTree>
    <p:extLst>
      <p:ext uri="{BB962C8B-B14F-4D97-AF65-F5344CB8AC3E}">
        <p14:creationId xmlns:p14="http://schemas.microsoft.com/office/powerpoint/2010/main" val="7533475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DE4745D-4180-0995-60BA-2F4A8E577851}"/>
              </a:ext>
            </a:extLst>
          </p:cNvPr>
          <p:cNvSpPr txBox="1"/>
          <p:nvPr/>
        </p:nvSpPr>
        <p:spPr>
          <a:xfrm>
            <a:off x="11259246" y="3076675"/>
            <a:ext cx="603898" cy="3454754"/>
          </a:xfrm>
          <a:prstGeom prst="rect">
            <a:avLst/>
          </a:prstGeom>
          <a:solidFill>
            <a:schemeClr val="bg1"/>
          </a:solidFill>
        </p:spPr>
        <p:txBody>
          <a:bodyPr wrap="square" rtlCol="0">
            <a:spAutoFit/>
          </a:bodyPr>
          <a:lstStyle/>
          <a:p>
            <a:endParaRPr lang="en-IE" dirty="0"/>
          </a:p>
        </p:txBody>
      </p:sp>
      <p:sp>
        <p:nvSpPr>
          <p:cNvPr id="2" name="Text Placeholder 1">
            <a:extLst>
              <a:ext uri="{FF2B5EF4-FFF2-40B4-BE49-F238E27FC236}">
                <a16:creationId xmlns:a16="http://schemas.microsoft.com/office/drawing/2014/main" id="{2E270E92-3AFF-A72B-09E8-8CE2D0A4392D}"/>
              </a:ext>
            </a:extLst>
          </p:cNvPr>
          <p:cNvSpPr>
            <a:spLocks noGrp="1"/>
          </p:cNvSpPr>
          <p:nvPr>
            <p:ph type="body" sz="quarter" idx="49"/>
          </p:nvPr>
        </p:nvSpPr>
        <p:spPr>
          <a:xfrm>
            <a:off x="3713278" y="180564"/>
            <a:ext cx="7545968" cy="730066"/>
          </a:xfrm>
        </p:spPr>
        <p:txBody>
          <a:bodyPr/>
          <a:lstStyle/>
          <a:p>
            <a:r>
              <a:rPr lang="en-GB" sz="3000" dirty="0"/>
              <a:t>Nachhaltige Entwicklung</a:t>
            </a:r>
            <a:endParaRPr lang="en-IE" sz="3000" dirty="0"/>
          </a:p>
        </p:txBody>
      </p:sp>
      <p:sp>
        <p:nvSpPr>
          <p:cNvPr id="3" name="Text Placeholder 2">
            <a:extLst>
              <a:ext uri="{FF2B5EF4-FFF2-40B4-BE49-F238E27FC236}">
                <a16:creationId xmlns:a16="http://schemas.microsoft.com/office/drawing/2014/main" id="{6CE5792B-C612-C36D-02AB-702F145C0478}"/>
              </a:ext>
            </a:extLst>
          </p:cNvPr>
          <p:cNvSpPr>
            <a:spLocks noGrp="1"/>
          </p:cNvSpPr>
          <p:nvPr>
            <p:ph type="body" sz="quarter" idx="50"/>
          </p:nvPr>
        </p:nvSpPr>
        <p:spPr>
          <a:xfrm>
            <a:off x="3713278" y="696170"/>
            <a:ext cx="7983306" cy="945874"/>
          </a:xfrm>
        </p:spPr>
        <p:txBody>
          <a:bodyPr/>
          <a:lstStyle/>
          <a:p>
            <a:pPr algn="just"/>
            <a:r>
              <a:rPr lang="en-GB" sz="1800" dirty="0"/>
              <a:t>Bei der nachhaltigen Entwicklung geht es darum, die Bedürfnisse der Gegenwart zu befriedigen, ohne die Möglichkeiten künftiger Generationen zu gefährden, ihre eigenen Bedürfnisse zu befriedigen. Unternehmen spielen eine zentrale Rolle bei der nachhaltigen Entwicklung, indem sie Wirtschaftswachstum, soziale Gerechtigkeit und Umweltschutz in ihre Strategien einbeziehen. </a:t>
            </a:r>
            <a:endParaRPr lang="en-IE" sz="1800" dirty="0"/>
          </a:p>
        </p:txBody>
      </p:sp>
      <p:sp>
        <p:nvSpPr>
          <p:cNvPr id="4" name="Text Placeholder 3">
            <a:extLst>
              <a:ext uri="{FF2B5EF4-FFF2-40B4-BE49-F238E27FC236}">
                <a16:creationId xmlns:a16="http://schemas.microsoft.com/office/drawing/2014/main" id="{CB72171A-6BEA-7DB4-ED65-73E34AED83D0}"/>
              </a:ext>
            </a:extLst>
          </p:cNvPr>
          <p:cNvSpPr>
            <a:spLocks noGrp="1"/>
          </p:cNvSpPr>
          <p:nvPr>
            <p:ph type="body" sz="quarter" idx="51"/>
          </p:nvPr>
        </p:nvSpPr>
        <p:spPr>
          <a:xfrm>
            <a:off x="3713278" y="2373459"/>
            <a:ext cx="7160276" cy="730066"/>
          </a:xfrm>
        </p:spPr>
        <p:txBody>
          <a:bodyPr/>
          <a:lstStyle/>
          <a:p>
            <a:r>
              <a:rPr lang="en-GB" sz="3000" b="1" dirty="0"/>
              <a:t>Erhaltung der biologischen Vielfalt</a:t>
            </a:r>
            <a:endParaRPr lang="en-IE" sz="3000" dirty="0"/>
          </a:p>
        </p:txBody>
      </p:sp>
      <p:sp>
        <p:nvSpPr>
          <p:cNvPr id="5" name="Text Placeholder 4">
            <a:extLst>
              <a:ext uri="{FF2B5EF4-FFF2-40B4-BE49-F238E27FC236}">
                <a16:creationId xmlns:a16="http://schemas.microsoft.com/office/drawing/2014/main" id="{E7F130F1-AFA1-7184-442C-FCFC417F7375}"/>
              </a:ext>
            </a:extLst>
          </p:cNvPr>
          <p:cNvSpPr>
            <a:spLocks noGrp="1"/>
          </p:cNvSpPr>
          <p:nvPr>
            <p:ph type="body" sz="quarter" idx="52"/>
          </p:nvPr>
        </p:nvSpPr>
        <p:spPr>
          <a:xfrm>
            <a:off x="3725459" y="2850120"/>
            <a:ext cx="7983306" cy="945874"/>
          </a:xfrm>
        </p:spPr>
        <p:txBody>
          <a:bodyPr/>
          <a:lstStyle/>
          <a:p>
            <a:pPr algn="just"/>
            <a:r>
              <a:rPr lang="en-GB" sz="1800" dirty="0"/>
              <a:t>Die Erhaltung der biologischen Vielfalt konzentriert sich auf den Schutz und die Wiederherstellung der Vielfalt des Lebens auf der Erde, einschließlich der Artenvielfalt, der genetischen Vielfalt und der Vielfalt der Ökosysteme. Unternehmen beeinflussen die biologische Vielfalt durch Landnutzung, Ressourcenabbau und Verschmutzung. </a:t>
            </a:r>
            <a:endParaRPr lang="en-IE" sz="1800" dirty="0"/>
          </a:p>
        </p:txBody>
      </p:sp>
      <p:sp>
        <p:nvSpPr>
          <p:cNvPr id="6" name="Text Placeholder 5">
            <a:extLst>
              <a:ext uri="{FF2B5EF4-FFF2-40B4-BE49-F238E27FC236}">
                <a16:creationId xmlns:a16="http://schemas.microsoft.com/office/drawing/2014/main" id="{87F9A46B-9921-1114-7803-7713611DD46A}"/>
              </a:ext>
            </a:extLst>
          </p:cNvPr>
          <p:cNvSpPr>
            <a:spLocks noGrp="1"/>
          </p:cNvSpPr>
          <p:nvPr>
            <p:ph type="body" sz="quarter" idx="54"/>
          </p:nvPr>
        </p:nvSpPr>
        <p:spPr>
          <a:xfrm>
            <a:off x="3737640" y="4439019"/>
            <a:ext cx="7160276" cy="730066"/>
          </a:xfrm>
        </p:spPr>
        <p:txBody>
          <a:bodyPr/>
          <a:lstStyle/>
          <a:p>
            <a:r>
              <a:rPr lang="en-GB" sz="3000" b="1" dirty="0"/>
              <a:t>Gesundheit des Ökosystems</a:t>
            </a:r>
            <a:endParaRPr lang="en-IE" sz="3000" dirty="0"/>
          </a:p>
        </p:txBody>
      </p:sp>
      <p:sp>
        <p:nvSpPr>
          <p:cNvPr id="7" name="Text Placeholder 6">
            <a:extLst>
              <a:ext uri="{FF2B5EF4-FFF2-40B4-BE49-F238E27FC236}">
                <a16:creationId xmlns:a16="http://schemas.microsoft.com/office/drawing/2014/main" id="{3AD6096D-9A22-8EF3-DEF4-1DC153C19F62}"/>
              </a:ext>
            </a:extLst>
          </p:cNvPr>
          <p:cNvSpPr>
            <a:spLocks noGrp="1"/>
          </p:cNvSpPr>
          <p:nvPr>
            <p:ph type="body" sz="quarter" idx="55"/>
          </p:nvPr>
        </p:nvSpPr>
        <p:spPr>
          <a:xfrm>
            <a:off x="3737640" y="4932018"/>
            <a:ext cx="7971125" cy="945874"/>
          </a:xfrm>
        </p:spPr>
        <p:txBody>
          <a:bodyPr/>
          <a:lstStyle/>
          <a:p>
            <a:pPr algn="just"/>
            <a:r>
              <a:rPr lang="en-GB" sz="1800" dirty="0"/>
              <a:t>Die Gesundheit von Ökosystemen bezieht sich auf den Zustand natürlicher Systeme und ihre Fähigkeit, ökologische Prozesse, biologische Vielfalt und Produktivität über einen längeren Zeitraum aufrechtzuerhalten. Unternehmen beeinflussen die Gesundheit von Ökosystemen durch Aktivitäten wie die Zerstörung von Lebensräumen, die Einleitung von Schadstoffen und die Gewinnung von Ressourcen. </a:t>
            </a:r>
            <a:endParaRPr lang="en-IE" sz="1800" dirty="0"/>
          </a:p>
        </p:txBody>
      </p:sp>
      <p:pic>
        <p:nvPicPr>
          <p:cNvPr id="17" name="Picture Placeholder 16" descr="Farmers collecting vegetables">
            <a:extLst>
              <a:ext uri="{FF2B5EF4-FFF2-40B4-BE49-F238E27FC236}">
                <a16:creationId xmlns:a16="http://schemas.microsoft.com/office/drawing/2014/main" id="{6AD7E2A7-9460-4F70-1386-ADA5959063DA}"/>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l="12351" r="12351"/>
          <a:stretch>
            <a:fillRect/>
          </a:stretch>
        </p:blipFill>
        <p:spPr>
          <a:ln>
            <a:solidFill>
              <a:srgbClr val="0F486D"/>
            </a:solidFill>
          </a:ln>
        </p:spPr>
      </p:pic>
      <p:pic>
        <p:nvPicPr>
          <p:cNvPr id="15" name="Picture Placeholder 14" descr="Honeybee about to the take-off from a flower">
            <a:extLst>
              <a:ext uri="{FF2B5EF4-FFF2-40B4-BE49-F238E27FC236}">
                <a16:creationId xmlns:a16="http://schemas.microsoft.com/office/drawing/2014/main" id="{BB919E65-BE0E-D4D5-E01F-C3D575DB2DE6}"/>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956" r="11956"/>
          <a:stretch>
            <a:fillRect/>
          </a:stretch>
        </p:blipFill>
        <p:spPr>
          <a:ln>
            <a:solidFill>
              <a:srgbClr val="0F486D"/>
            </a:solidFill>
          </a:ln>
        </p:spPr>
      </p:pic>
      <p:pic>
        <p:nvPicPr>
          <p:cNvPr id="13" name="Picture Placeholder 12">
            <a:extLst>
              <a:ext uri="{FF2B5EF4-FFF2-40B4-BE49-F238E27FC236}">
                <a16:creationId xmlns:a16="http://schemas.microsoft.com/office/drawing/2014/main" id="{89C72541-668F-E715-0E19-7257F88DC171}"/>
              </a:ext>
            </a:extLst>
          </p:cNvPr>
          <p:cNvPicPr>
            <a:picLocks noGrp="1" noChangeAspect="1"/>
          </p:cNvPicPr>
          <p:nvPr>
            <p:ph type="pic" sz="quarter" idx="57"/>
          </p:nvPr>
        </p:nvPicPr>
        <p:blipFill rotWithShape="1">
          <a:blip r:embed="rId4" cstate="email">
            <a:extLst>
              <a:ext uri="{28A0092B-C50C-407E-A947-70E740481C1C}">
                <a14:useLocalDpi xmlns:a14="http://schemas.microsoft.com/office/drawing/2010/main"/>
              </a:ext>
            </a:extLst>
          </a:blip>
          <a:srcRect l="-8691" t="-3043" r="-8691" b="1"/>
          <a:stretch/>
        </p:blipFill>
        <p:spPr>
          <a:xfrm>
            <a:off x="1449252" y="409057"/>
            <a:ext cx="1839479" cy="1607908"/>
          </a:xfrm>
          <a:solidFill>
            <a:schemeClr val="bg1"/>
          </a:solidFill>
          <a:ln>
            <a:solidFill>
              <a:srgbClr val="0F486D"/>
            </a:solidFill>
          </a:ln>
        </p:spPr>
      </p:pic>
    </p:spTree>
    <p:extLst>
      <p:ext uri="{BB962C8B-B14F-4D97-AF65-F5344CB8AC3E}">
        <p14:creationId xmlns:p14="http://schemas.microsoft.com/office/powerpoint/2010/main" val="26171823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960132-9103-69AE-E6F6-742C2FB65C3A}"/>
              </a:ext>
            </a:extLst>
          </p:cNvPr>
          <p:cNvGraphicFramePr>
            <a:graphicFrameLocks noChangeAspect="1"/>
          </p:cNvGraphicFramePr>
          <p:nvPr>
            <p:custDataLst>
              <p:tags r:id="rId1"/>
            </p:custDataLst>
            <p:extLst>
              <p:ext uri="{D42A27DB-BD31-4B8C-83A1-F6EECF244321}">
                <p14:modId xmlns:p14="http://schemas.microsoft.com/office/powerpoint/2010/main" val="370040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7">
            <a:extLst>
              <a:ext uri="{FF2B5EF4-FFF2-40B4-BE49-F238E27FC236}">
                <a16:creationId xmlns:a16="http://schemas.microsoft.com/office/drawing/2014/main" id="{03075412-0276-A826-0463-03E79A282812}"/>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5718" r="25718"/>
          <a:stretch/>
        </p:blipFill>
        <p:spPr>
          <a:xfrm>
            <a:off x="884238" y="0"/>
            <a:ext cx="4994275" cy="6858000"/>
          </a:xfrm>
        </p:spPr>
      </p:pic>
      <p:sp>
        <p:nvSpPr>
          <p:cNvPr id="3" name="Text Placeholder 2">
            <a:extLst>
              <a:ext uri="{FF2B5EF4-FFF2-40B4-BE49-F238E27FC236}">
                <a16:creationId xmlns:a16="http://schemas.microsoft.com/office/drawing/2014/main" id="{A69C84D3-DAB8-A256-725D-6358D9E3C675}"/>
              </a:ext>
            </a:extLst>
          </p:cNvPr>
          <p:cNvSpPr>
            <a:spLocks noGrp="1"/>
          </p:cNvSpPr>
          <p:nvPr>
            <p:ph type="body" sz="quarter" idx="30"/>
          </p:nvPr>
        </p:nvSpPr>
        <p:spPr>
          <a:xfrm>
            <a:off x="4890795" y="385894"/>
            <a:ext cx="6776598" cy="1195771"/>
          </a:xfrm>
        </p:spPr>
        <p:txBody>
          <a:bodyPr/>
          <a:lstStyle/>
          <a:p>
            <a:r>
              <a:rPr lang="en-IE" dirty="0"/>
              <a:t>Best Practice: </a:t>
            </a:r>
            <a:br>
              <a:rPr lang="en-IE" dirty="0"/>
            </a:br>
            <a:r>
              <a:rPr lang="en-IE" dirty="0"/>
              <a:t>HOTEL LUISE</a:t>
            </a:r>
          </a:p>
        </p:txBody>
      </p:sp>
      <p:sp>
        <p:nvSpPr>
          <p:cNvPr id="4" name="Text Placeholder 3">
            <a:extLst>
              <a:ext uri="{FF2B5EF4-FFF2-40B4-BE49-F238E27FC236}">
                <a16:creationId xmlns:a16="http://schemas.microsoft.com/office/drawing/2014/main" id="{D763B87B-2E45-7F3C-D8C8-7BD1498202C7}"/>
              </a:ext>
            </a:extLst>
          </p:cNvPr>
          <p:cNvSpPr>
            <a:spLocks noGrp="1"/>
          </p:cNvSpPr>
          <p:nvPr>
            <p:ph type="body" sz="quarter" idx="48"/>
          </p:nvPr>
        </p:nvSpPr>
        <p:spPr>
          <a:xfrm>
            <a:off x="6448813" y="1845579"/>
            <a:ext cx="4993772" cy="4062086"/>
          </a:xfrm>
        </p:spPr>
        <p:txBody>
          <a:bodyPr/>
          <a:lstStyle/>
          <a:p>
            <a:pPr algn="just">
              <a:lnSpc>
                <a:spcPct val="107000"/>
              </a:lnSpc>
              <a:spcAft>
                <a:spcPts val="800"/>
              </a:spcAft>
            </a:pP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6">
                  <a:extLst>
                    <a:ext uri="{A12FA001-AC4F-418D-AE19-62706E023703}">
                      <ahyp:hlinkClr xmlns:ahyp="http://schemas.microsoft.com/office/drawing/2018/hyperlinkcolor" val="tx"/>
                    </a:ext>
                  </a:extLst>
                </a:hlinkClick>
              </a:rPr>
              <a:t>Das Hotel Luise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demonstriert umfassende ethische Geschäftspraktiken und soziale Verantwortung durch sein langfristiges Engagement für Nachhaltigkeit und die transparente Berichterstattung über seine Nachhaltigkeitsmaßnahmen. </a:t>
            </a:r>
          </a:p>
        </p:txBody>
      </p:sp>
      <p:pic>
        <p:nvPicPr>
          <p:cNvPr id="6" name="Picture 5">
            <a:extLst>
              <a:ext uri="{FF2B5EF4-FFF2-40B4-BE49-F238E27FC236}">
                <a16:creationId xmlns:a16="http://schemas.microsoft.com/office/drawing/2014/main" id="{7201AECC-E582-07E8-D078-6706E490A89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13759" y="3951214"/>
            <a:ext cx="1735064" cy="2604782"/>
          </a:xfrm>
          <a:prstGeom prst="rect">
            <a:avLst/>
          </a:prstGeom>
        </p:spPr>
      </p:pic>
    </p:spTree>
    <p:extLst>
      <p:ext uri="{BB962C8B-B14F-4D97-AF65-F5344CB8AC3E}">
        <p14:creationId xmlns:p14="http://schemas.microsoft.com/office/powerpoint/2010/main" val="26529677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2C3960-840E-3973-FCD8-4ABF8E80BCA7}"/>
              </a:ext>
            </a:extLst>
          </p:cNvPr>
          <p:cNvSpPr>
            <a:spLocks noGrp="1"/>
          </p:cNvSpPr>
          <p:nvPr>
            <p:ph type="body" sz="quarter" idx="48"/>
          </p:nvPr>
        </p:nvSpPr>
        <p:spPr>
          <a:xfrm>
            <a:off x="6544912" y="645952"/>
            <a:ext cx="4939670" cy="5440815"/>
          </a:xfrm>
        </p:spPr>
        <p:txBody>
          <a:bodyPr/>
          <a:lstStyle/>
          <a:p>
            <a:pPr algn="just">
              <a:lnSpc>
                <a:spcPct val="107000"/>
              </a:lnSpc>
              <a:spcAft>
                <a:spcPts val="8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Ihre Initiativen in Bezug auf ethisches Handeln und soziale Verantwortung setzen Maßstäbe für das Gastgewerbe und zeigen, wie Transparenz und Engagement für Nachhaltigkeit den Ruf des Unternehmens und die gesellschaftliche Wirkung verbessern können.</a:t>
            </a:r>
          </a:p>
          <a:p>
            <a:pPr algn="just">
              <a:lnSpc>
                <a:spcPct val="107000"/>
              </a:lnSpc>
              <a:spcAft>
                <a:spcPts val="8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Erfahren Sie mehr über die nachhaltigen Praktiken </a:t>
            </a: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des Hotel Luise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in unserem Kompendium der Fallstudien.</a:t>
            </a:r>
          </a:p>
        </p:txBody>
      </p:sp>
      <p:pic>
        <p:nvPicPr>
          <p:cNvPr id="2" name="Picture Placeholder 5">
            <a:extLst>
              <a:ext uri="{FF2B5EF4-FFF2-40B4-BE49-F238E27FC236}">
                <a16:creationId xmlns:a16="http://schemas.microsoft.com/office/drawing/2014/main" id="{366F3A53-A034-2B8D-5DE0-C95310CDC49F}"/>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4298" b="14298"/>
          <a:stretch/>
        </p:blipFill>
        <p:spPr>
          <a:xfrm>
            <a:off x="0" y="0"/>
            <a:ext cx="5875338" cy="6858000"/>
          </a:xfrm>
        </p:spPr>
      </p:pic>
    </p:spTree>
    <p:extLst>
      <p:ext uri="{BB962C8B-B14F-4D97-AF65-F5344CB8AC3E}">
        <p14:creationId xmlns:p14="http://schemas.microsoft.com/office/powerpoint/2010/main" val="2506810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ED06F5-A343-7EE8-672B-852F759E8819}"/>
              </a:ext>
            </a:extLst>
          </p:cNvPr>
          <p:cNvSpPr>
            <a:spLocks noGrp="1"/>
          </p:cNvSpPr>
          <p:nvPr>
            <p:ph type="body" sz="quarter" idx="30"/>
          </p:nvPr>
        </p:nvSpPr>
        <p:spPr>
          <a:xfrm>
            <a:off x="5268686" y="338738"/>
            <a:ext cx="6110631" cy="845139"/>
          </a:xfrm>
        </p:spPr>
        <p:txBody>
          <a:bodyPr/>
          <a:lstStyle/>
          <a:p>
            <a:r>
              <a:rPr lang="en-GB" dirty="0"/>
              <a:t>Wirtschaftlicher Nutzen</a:t>
            </a:r>
            <a:endParaRPr lang="en-US" dirty="0"/>
          </a:p>
          <a:p>
            <a:endParaRPr lang="en-IE" sz="3200"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5268686" y="1224939"/>
            <a:ext cx="6171802" cy="3666893"/>
          </a:xfrm>
        </p:spPr>
        <p:txBody>
          <a:bodyPr/>
          <a:lstStyle/>
          <a:p>
            <a:pPr algn="just">
              <a:spcAft>
                <a:spcPts val="600"/>
              </a:spcAft>
            </a:pPr>
            <a:r>
              <a:rPr lang="en-GB" sz="2000" dirty="0"/>
              <a:t>Nachhaltige Praktiken bringen erhebliche wirtschaftliche Vorteile mit sich, da sie den Ressourcenverbrauch reduzieren, die Energieeffizienz steigern und das Abfallaufkommen minimieren. </a:t>
            </a:r>
          </a:p>
          <a:p>
            <a:pPr algn="just">
              <a:spcAft>
                <a:spcPts val="600"/>
              </a:spcAft>
            </a:pPr>
            <a:r>
              <a:rPr lang="en-GB" sz="2000" dirty="0"/>
              <a:t>So können Unternehmen, die in erneuerbare Energiequellen wie Solar- oder Windenergie investieren, ihre Betriebskosten mit der Zeit erheblich senken. </a:t>
            </a:r>
          </a:p>
          <a:p>
            <a:pPr algn="just">
              <a:spcAft>
                <a:spcPts val="600"/>
              </a:spcAft>
            </a:pPr>
            <a:r>
              <a:rPr lang="en-GB" sz="2000" dirty="0"/>
              <a:t>Die Anwendung von Grundsätzen der Kreislaufwirtschaft, bei denen die Wiederverwendung von Ressourcen und die Abfallverringerung im Vordergrund stehen, trägt auch zu Kosteneinsparungen bei, indem der Materialeinsatz optimiert und die Entsorgungskosten verringert werden.</a:t>
            </a:r>
          </a:p>
        </p:txBody>
      </p:sp>
      <p:pic>
        <p:nvPicPr>
          <p:cNvPr id="2" name="Picture Placeholder 5" descr="Piggy bank collection top view">
            <a:extLst>
              <a:ext uri="{FF2B5EF4-FFF2-40B4-BE49-F238E27FC236}">
                <a16:creationId xmlns:a16="http://schemas.microsoft.com/office/drawing/2014/main" id="{BA35DF64-CACB-326C-887B-AE4144E5558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2238" b="2238"/>
          <a:stretch>
            <a:fillRect/>
          </a:stretch>
        </p:blipFill>
        <p:spPr>
          <a:xfrm>
            <a:off x="0" y="0"/>
            <a:ext cx="4614863" cy="6858000"/>
          </a:xfrm>
        </p:spPr>
      </p:pic>
    </p:spTree>
    <p:extLst>
      <p:ext uri="{BB962C8B-B14F-4D97-AF65-F5344CB8AC3E}">
        <p14:creationId xmlns:p14="http://schemas.microsoft.com/office/powerpoint/2010/main" val="27918159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42B000-7F7A-EB11-908F-EEDDC9906E1E}"/>
              </a:ext>
            </a:extLst>
          </p:cNvPr>
          <p:cNvSpPr>
            <a:spLocks noGrp="1"/>
          </p:cNvSpPr>
          <p:nvPr>
            <p:ph type="body" sz="quarter" idx="30"/>
          </p:nvPr>
        </p:nvSpPr>
        <p:spPr>
          <a:xfrm>
            <a:off x="5256503" y="282257"/>
            <a:ext cx="6581001" cy="845139"/>
          </a:xfrm>
        </p:spPr>
        <p:txBody>
          <a:bodyPr/>
          <a:lstStyle/>
          <a:p>
            <a:r>
              <a:rPr lang="en-GB" b="1" dirty="0"/>
              <a:t>Verbesserte Marktpositionierung</a:t>
            </a:r>
            <a:endParaRPr lang="en-US" dirty="0"/>
          </a:p>
          <a:p>
            <a:endParaRPr lang="en-IE" dirty="0"/>
          </a:p>
        </p:txBody>
      </p:sp>
      <p:sp>
        <p:nvSpPr>
          <p:cNvPr id="4" name="Text Placeholder 3">
            <a:extLst>
              <a:ext uri="{FF2B5EF4-FFF2-40B4-BE49-F238E27FC236}">
                <a16:creationId xmlns:a16="http://schemas.microsoft.com/office/drawing/2014/main" id="{7D9AC5B4-5892-D21F-3B8B-540126186A92}"/>
              </a:ext>
            </a:extLst>
          </p:cNvPr>
          <p:cNvSpPr>
            <a:spLocks noGrp="1"/>
          </p:cNvSpPr>
          <p:nvPr>
            <p:ph type="body" sz="quarter" idx="48"/>
          </p:nvPr>
        </p:nvSpPr>
        <p:spPr>
          <a:xfrm>
            <a:off x="5256502" y="1127396"/>
            <a:ext cx="6245687" cy="3466570"/>
          </a:xfrm>
        </p:spPr>
        <p:txBody>
          <a:bodyPr/>
          <a:lstStyle/>
          <a:p>
            <a:pPr algn="just">
              <a:spcAft>
                <a:spcPts val="600"/>
              </a:spcAft>
            </a:pPr>
            <a:r>
              <a:rPr lang="en-GB" sz="2400" dirty="0"/>
              <a:t>Die Präferenzen der Verbraucher verlagern sich zunehmend auf umweltbewusste Unternehmen. </a:t>
            </a:r>
          </a:p>
          <a:p>
            <a:pPr algn="just">
              <a:spcAft>
                <a:spcPts val="600"/>
              </a:spcAft>
            </a:pPr>
            <a:r>
              <a:rPr lang="en-GB" sz="2400" dirty="0"/>
              <a:t>Die Einführung nachhaltiger Praktiken erfüllt nicht nur diese Erwartungen, sondern verbessert auch die Marktposition eines Unternehmens. </a:t>
            </a:r>
          </a:p>
          <a:p>
            <a:pPr algn="just">
              <a:spcAft>
                <a:spcPts val="600"/>
              </a:spcAft>
            </a:pPr>
            <a:r>
              <a:rPr lang="en-GB" sz="2400" dirty="0"/>
              <a:t>Unternehmen, die sich für den Umweltschutz engagieren, ziehen umweltbewusste Verbraucher an, die bei ihren Kaufentscheidungen auf Nachhaltigkeit achten. Ebenso können nachhaltige Praktiken ein Unternehmen von der Konkurrenz abheben, den Ruf der Marke stärken und die Kundenbindung fördern. </a:t>
            </a:r>
          </a:p>
          <a:p>
            <a:pPr>
              <a:spcAft>
                <a:spcPts val="600"/>
              </a:spcAft>
            </a:pPr>
            <a:endParaRPr lang="en-IE" sz="2400" dirty="0"/>
          </a:p>
        </p:txBody>
      </p:sp>
      <p:pic>
        <p:nvPicPr>
          <p:cNvPr id="2" name="Picture Placeholder 5" descr="One red balloon flying away from other white balloons">
            <a:extLst>
              <a:ext uri="{FF2B5EF4-FFF2-40B4-BE49-F238E27FC236}">
                <a16:creationId xmlns:a16="http://schemas.microsoft.com/office/drawing/2014/main" id="{0389EF68-41A1-E960-7FFA-77CE3974A202}"/>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4766" r="24766"/>
          <a:stretch/>
        </p:blipFill>
        <p:spPr>
          <a:xfrm>
            <a:off x="0" y="0"/>
            <a:ext cx="4614863" cy="6858000"/>
          </a:xfrm>
        </p:spPr>
      </p:pic>
    </p:spTree>
    <p:extLst>
      <p:ext uri="{BB962C8B-B14F-4D97-AF65-F5344CB8AC3E}">
        <p14:creationId xmlns:p14="http://schemas.microsoft.com/office/powerpoint/2010/main" val="292656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D39B41C-3632-0D6C-4191-DF721FCB3D4D}"/>
              </a:ext>
            </a:extLst>
          </p:cNvPr>
          <p:cNvGraphicFramePr>
            <a:graphicFrameLocks noChangeAspect="1"/>
          </p:cNvGraphicFramePr>
          <p:nvPr>
            <p:custDataLst>
              <p:tags r:id="rId1"/>
            </p:custDataLst>
            <p:extLst>
              <p:ext uri="{D42A27DB-BD31-4B8C-83A1-F6EECF244321}">
                <p14:modId xmlns:p14="http://schemas.microsoft.com/office/powerpoint/2010/main" val="1542988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8">
            <a:extLst>
              <a:ext uri="{FF2B5EF4-FFF2-40B4-BE49-F238E27FC236}">
                <a16:creationId xmlns:a16="http://schemas.microsoft.com/office/drawing/2014/main" id="{E6A334E6-8C46-076B-49CB-193CFD70768E}"/>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686" r="25686"/>
          <a:stretch>
            <a:fillRect/>
          </a:stretch>
        </p:blipFill>
        <p:spPr>
          <a:xfrm>
            <a:off x="884238" y="0"/>
            <a:ext cx="4994275" cy="6858000"/>
          </a:xfrm>
        </p:spPr>
      </p:pic>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a:t>
            </a:fld>
            <a:endParaRPr lang="en-US" sz="1291" dirty="0"/>
          </a:p>
        </p:txBody>
      </p:sp>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65128" y="536892"/>
            <a:ext cx="3567405" cy="842867"/>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1581666"/>
            <a:ext cx="5189591" cy="4271810"/>
          </a:xfrm>
        </p:spPr>
        <p:txBody>
          <a:bodyPr/>
          <a:lstStyle/>
          <a:p>
            <a:pPr algn="just">
              <a:spcAft>
                <a:spcPts val="600"/>
              </a:spcAft>
            </a:pPr>
            <a:r>
              <a:rPr lang="en-GB" sz="1800" dirty="0"/>
              <a:t>Dieses Modul befasst sich mit dem Triple Bottom Line (TBL)-Ansatz, einem grundlegenden Konzept für nachhaltiges Wirtschaften, und deckt damit einen wesentlichen Schulungsbedarf ab. </a:t>
            </a:r>
          </a:p>
          <a:p>
            <a:pPr algn="just">
              <a:spcAft>
                <a:spcPts val="600"/>
              </a:spcAft>
            </a:pPr>
            <a:r>
              <a:rPr lang="en-GB" sz="1800" dirty="0"/>
              <a:t>Die Teilnehmer werden ein umfassendes Verständnis von TBL erlangen, indem sie untersuchen, wie wirtschaftliche, soziale und umweltbezogene Faktoren gemeinsam den Geschäftserfolg beeinflussen. </a:t>
            </a:r>
          </a:p>
          <a:p>
            <a:pPr algn="just">
              <a:spcAft>
                <a:spcPts val="600"/>
              </a:spcAft>
            </a:pPr>
            <a:r>
              <a:rPr lang="en-GB" sz="1800" dirty="0"/>
              <a:t>Die Schulung unterstreicht die umfassenderen Auswirkungen der Einführung von TBL und ermutigt die Teilnehmer, die Verflechtung ihrer Entscheidungen mit wirtschaftlichem Wohlstand, gesellschaftlichen Auswirkungen und Umweltbelangen zu erkennen. </a:t>
            </a:r>
            <a:endParaRPr lang="en-US" sz="1800" dirty="0"/>
          </a:p>
        </p:txBody>
      </p:sp>
    </p:spTree>
    <p:extLst>
      <p:ext uri="{BB962C8B-B14F-4D97-AF65-F5344CB8AC3E}">
        <p14:creationId xmlns:p14="http://schemas.microsoft.com/office/powerpoint/2010/main" val="29246828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C60C6A3-8656-3842-1AA0-3B899A33AAC1}"/>
              </a:ext>
            </a:extLst>
          </p:cNvPr>
          <p:cNvSpPr>
            <a:spLocks noGrp="1"/>
          </p:cNvSpPr>
          <p:nvPr>
            <p:ph type="body" sz="quarter" idx="30"/>
          </p:nvPr>
        </p:nvSpPr>
        <p:spPr>
          <a:xfrm>
            <a:off x="5169877" y="333422"/>
            <a:ext cx="6110631" cy="845139"/>
          </a:xfrm>
        </p:spPr>
        <p:txBody>
          <a:bodyPr/>
          <a:lstStyle/>
          <a:p>
            <a:r>
              <a:rPr lang="en-GB" b="1" dirty="0"/>
              <a:t>Einhaltung von Vorschriften</a:t>
            </a:r>
            <a:endParaRPr lang="en-US" dirty="0"/>
          </a:p>
          <a:p>
            <a:endParaRPr lang="en-IE" dirty="0"/>
          </a:p>
        </p:txBody>
      </p:sp>
      <p:sp>
        <p:nvSpPr>
          <p:cNvPr id="4" name="Text Placeholder 3">
            <a:extLst>
              <a:ext uri="{FF2B5EF4-FFF2-40B4-BE49-F238E27FC236}">
                <a16:creationId xmlns:a16="http://schemas.microsoft.com/office/drawing/2014/main" id="{BBF10B3A-8229-1017-CD7B-42EEBCA17DC5}"/>
              </a:ext>
            </a:extLst>
          </p:cNvPr>
          <p:cNvSpPr>
            <a:spLocks noGrp="1"/>
          </p:cNvSpPr>
          <p:nvPr>
            <p:ph type="body" sz="quarter" idx="48"/>
          </p:nvPr>
        </p:nvSpPr>
        <p:spPr>
          <a:xfrm>
            <a:off x="5169878" y="1050307"/>
            <a:ext cx="6457263" cy="3466570"/>
          </a:xfrm>
        </p:spPr>
        <p:txBody>
          <a:bodyPr/>
          <a:lstStyle/>
          <a:p>
            <a:pPr algn="just">
              <a:spcAft>
                <a:spcPts val="600"/>
              </a:spcAft>
            </a:pPr>
            <a:r>
              <a:rPr lang="en-GB" sz="2000" dirty="0"/>
              <a:t>Weltweit setzen Regierungen strengere Umweltvorschriften durch, um drängende Probleme wie Klimawandel, Umweltverschmutzung und Ressourcenverknappung anzugehen. </a:t>
            </a:r>
          </a:p>
          <a:p>
            <a:pPr algn="just">
              <a:spcAft>
                <a:spcPts val="600"/>
              </a:spcAft>
            </a:pPr>
            <a:r>
              <a:rPr lang="en-GB" sz="2000" dirty="0"/>
              <a:t>Durch die proaktive Einführung nachhaltiger Praktiken stellen Unternehmen die Einhaltung dieser Vorschriften sicher und verringern so rechtliche Risiken und potenzielle Bußgelder. </a:t>
            </a:r>
          </a:p>
          <a:p>
            <a:pPr algn="just">
              <a:spcAft>
                <a:spcPts val="600"/>
              </a:spcAft>
            </a:pPr>
            <a:r>
              <a:rPr lang="en-GB" sz="2000" dirty="0"/>
              <a:t>Unternehmen, die sich auf die Einhaltung von Umweltvorschriften konzentrieren, demonstrieren ihr Engagement für die </a:t>
            </a:r>
            <a:r>
              <a:rPr lang="en-GB" sz="2000" b="1" dirty="0"/>
              <a:t>soziale Verantwortung von Unternehmen </a:t>
            </a:r>
            <a:r>
              <a:rPr lang="en-GB" sz="2000" dirty="0"/>
              <a:t>(CSR) und eine nachhaltige Entwicklung, indem sie sich an den globalen Nachhaltigkeitszielen orientieren und ein positives rechtliches Umfeld schaffen.</a:t>
            </a:r>
          </a:p>
          <a:p>
            <a:pPr>
              <a:spcAft>
                <a:spcPts val="600"/>
              </a:spcAft>
            </a:pPr>
            <a:endParaRPr lang="en-IE" sz="2000" dirty="0"/>
          </a:p>
        </p:txBody>
      </p:sp>
      <p:pic>
        <p:nvPicPr>
          <p:cNvPr id="2" name="Picture Placeholder 5" descr="Laughing girl thumbs up">
            <a:extLst>
              <a:ext uri="{FF2B5EF4-FFF2-40B4-BE49-F238E27FC236}">
                <a16:creationId xmlns:a16="http://schemas.microsoft.com/office/drawing/2014/main" id="{BE691AD8-3C02-A5E6-0613-68B8EFA46689}"/>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l="27940" r="27940"/>
          <a:stretch/>
        </p:blipFill>
        <p:spPr>
          <a:xfrm>
            <a:off x="0" y="0"/>
            <a:ext cx="4614863" cy="6858000"/>
          </a:xfrm>
        </p:spPr>
      </p:pic>
    </p:spTree>
    <p:extLst>
      <p:ext uri="{BB962C8B-B14F-4D97-AF65-F5344CB8AC3E}">
        <p14:creationId xmlns:p14="http://schemas.microsoft.com/office/powerpoint/2010/main" val="38076248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556656" y="1967451"/>
            <a:ext cx="11078678" cy="4439577"/>
          </a:xfrm>
        </p:spPr>
        <p:txBody>
          <a:bodyPr/>
          <a:lstStyle/>
          <a:p>
            <a:pPr>
              <a:spcAft>
                <a:spcPts val="600"/>
              </a:spcAft>
            </a:pPr>
            <a:r>
              <a:rPr lang="en-GB" sz="2000" b="1" dirty="0">
                <a:solidFill>
                  <a:srgbClr val="0F486D"/>
                </a:solidFill>
                <a:hlinkClick r:id="rId2">
                  <a:extLst>
                    <a:ext uri="{A12FA001-AC4F-418D-AE19-62706E023703}">
                      <ahyp:hlinkClr xmlns:ahyp="http://schemas.microsoft.com/office/drawing/2018/hyperlinkcolor" val="tx"/>
                    </a:ext>
                  </a:extLst>
                </a:hlinkClick>
              </a:rPr>
              <a:t>SDG 12: Verantwortungsbewusster Konsum und Produktion</a:t>
            </a:r>
            <a:r>
              <a:rPr lang="en-GB" sz="2000" b="1" dirty="0"/>
              <a:t>: </a:t>
            </a:r>
            <a:r>
              <a:rPr lang="en-GB" sz="2000" dirty="0"/>
              <a:t>Die Integration von Transparenz und Rechenschaftspflicht in ethische Geschäftspraktiken fördert nachhaltige Konsum- und Produktionsmuster und steht im Einklang mit den globalen Zielen für Ressourceneffizienz und Abfallvermeidung.</a:t>
            </a:r>
          </a:p>
          <a:p>
            <a:pPr>
              <a:spcAft>
                <a:spcPts val="600"/>
              </a:spcAft>
            </a:pPr>
            <a:r>
              <a:rPr lang="en-GB" sz="2000" b="1" dirty="0">
                <a:solidFill>
                  <a:srgbClr val="0F486D"/>
                </a:solidFill>
                <a:hlinkClick r:id="rId3">
                  <a:extLst>
                    <a:ext uri="{A12FA001-AC4F-418D-AE19-62706E023703}">
                      <ahyp:hlinkClr xmlns:ahyp="http://schemas.microsoft.com/office/drawing/2018/hyperlinkcolor" val="tx"/>
                    </a:ext>
                  </a:extLst>
                </a:hlinkClick>
              </a:rPr>
              <a:t>SDG 13: Klimapolitik</a:t>
            </a:r>
            <a:r>
              <a:rPr lang="en-GB" sz="2000" b="1" dirty="0"/>
              <a:t>: </a:t>
            </a:r>
            <a:r>
              <a:rPr lang="en-GB" sz="2000" dirty="0"/>
              <a:t>Ethische Entscheidungen und nachhaltige Geschäftspraktiken tragen zur Verringerung der Auswirkungen des Klimawandels, zur Schaffung einer kohlenstoffarmen Wirtschaft und zur ökologischen Nachhaltigkeit bei.</a:t>
            </a:r>
          </a:p>
          <a:p>
            <a:pPr>
              <a:spcAft>
                <a:spcPts val="600"/>
              </a:spcAft>
            </a:pPr>
            <a:r>
              <a:rPr lang="en-GB" sz="2000" b="1" dirty="0">
                <a:solidFill>
                  <a:srgbClr val="0F486D"/>
                </a:solidFill>
                <a:hlinkClick r:id="rId4">
                  <a:extLst>
                    <a:ext uri="{A12FA001-AC4F-418D-AE19-62706E023703}">
                      <ahyp:hlinkClr xmlns:ahyp="http://schemas.microsoft.com/office/drawing/2018/hyperlinkcolor" val="tx"/>
                    </a:ext>
                  </a:extLst>
                </a:hlinkClick>
              </a:rPr>
              <a:t>EntreComp 1.5 Ethisches und nachhaltiges Denken</a:t>
            </a:r>
            <a:r>
              <a:rPr lang="en-GB" sz="2000" b="1" dirty="0"/>
              <a:t>: </a:t>
            </a:r>
            <a:r>
              <a:rPr lang="en-GB" sz="2000" dirty="0"/>
              <a:t>Die Bewertung der Folgen und Auswirkungen von Ideen, Möglichkeiten und Handlungen führt zu nachhaltigen Managementpraktiken, sozialer Verantwortung der Unternehmen und Eingliederung in Unternehmen und trägt so zu einem ethischen Geschäftsgebaren bei.</a:t>
            </a:r>
          </a:p>
          <a:p>
            <a:pPr>
              <a:spcAft>
                <a:spcPts val="600"/>
              </a:spcAft>
            </a:pPr>
            <a:r>
              <a:rPr lang="en-GB" sz="2000" b="1" dirty="0">
                <a:solidFill>
                  <a:srgbClr val="0F486D"/>
                </a:solidFill>
                <a:hlinkClick r:id="rId4">
                  <a:extLst>
                    <a:ext uri="{A12FA001-AC4F-418D-AE19-62706E023703}">
                      <ahyp:hlinkClr xmlns:ahyp="http://schemas.microsoft.com/office/drawing/2018/hyperlinkcolor" val="tx"/>
                    </a:ext>
                  </a:extLst>
                </a:hlinkClick>
              </a:rPr>
              <a:t>EntreComp 3.1 Die Initiative ergreifen</a:t>
            </a:r>
            <a:r>
              <a:rPr lang="en-GB" sz="2000" b="1" dirty="0"/>
              <a:t>: </a:t>
            </a:r>
            <a:r>
              <a:rPr lang="en-GB" sz="2000" dirty="0"/>
              <a:t>Das Erkennen von Chancen, das Treffen unabhängiger operativer Entscheidungen und die Formulierung strategischer Geschäftsentscheidungen befähigen zu nachhaltigen Praktiken innerhalb des Geschäftsbetriebs und unterstützen den Umweltschutz und verantwortungsvolles Unternehmertum.</a:t>
            </a:r>
          </a:p>
        </p:txBody>
      </p:sp>
      <p:sp>
        <p:nvSpPr>
          <p:cNvPr id="6" name="Text Placeholder 1">
            <a:extLst>
              <a:ext uri="{FF2B5EF4-FFF2-40B4-BE49-F238E27FC236}">
                <a16:creationId xmlns:a16="http://schemas.microsoft.com/office/drawing/2014/main" id="{CB75BCD4-B240-46A4-C532-7E9DF6C9E4EF}"/>
              </a:ext>
            </a:extLst>
          </p:cNvPr>
          <p:cNvSpPr>
            <a:spLocks noGrp="1"/>
          </p:cNvSpPr>
          <p:nvPr>
            <p:ph type="body" sz="quarter" idx="30"/>
          </p:nvPr>
        </p:nvSpPr>
        <p:spPr>
          <a:xfrm>
            <a:off x="1482061" y="450972"/>
            <a:ext cx="9227869" cy="804265"/>
          </a:xfrm>
        </p:spPr>
        <p:txBody>
          <a:bodyPr/>
          <a:lstStyle/>
          <a:p>
            <a:pPr algn="ctr"/>
            <a:r>
              <a:rPr lang="en-US" dirty="0"/>
              <a:t>ANGLEICHUNG AN DIE ZIELE FÜR NACHHALTIGE ENTWICKLUNG &amp; ENTRECOMP</a:t>
            </a:r>
          </a:p>
        </p:txBody>
      </p:sp>
      <p:pic>
        <p:nvPicPr>
          <p:cNvPr id="7" name="Picture 2">
            <a:extLst>
              <a:ext uri="{FF2B5EF4-FFF2-40B4-BE49-F238E27FC236}">
                <a16:creationId xmlns:a16="http://schemas.microsoft.com/office/drawing/2014/main" id="{73D99DE2-D406-0C70-BD8B-19D4A500EB0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9421" y="375163"/>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ADC288E-3F9F-456A-D55E-6143BC46AD5A}"/>
              </a:ext>
            </a:extLst>
          </p:cNvPr>
          <p:cNvPicPr>
            <a:picLocks noChangeAspect="1"/>
          </p:cNvPicPr>
          <p:nvPr/>
        </p:nvPicPr>
        <p:blipFill>
          <a:blip r:embed="rId6"/>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42873562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6B3CA81-F6F1-0EF2-180A-3D60C107FA23}"/>
              </a:ext>
            </a:extLst>
          </p:cNvPr>
          <p:cNvGraphicFramePr>
            <a:graphicFrameLocks noChangeAspect="1"/>
          </p:cNvGraphicFramePr>
          <p:nvPr>
            <p:custDataLst>
              <p:tags r:id="rId1"/>
            </p:custDataLst>
            <p:extLst>
              <p:ext uri="{D42A27DB-BD31-4B8C-83A1-F6EECF244321}">
                <p14:modId xmlns:p14="http://schemas.microsoft.com/office/powerpoint/2010/main" val="3111637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Two cute robots">
            <a:extLst>
              <a:ext uri="{FF2B5EF4-FFF2-40B4-BE49-F238E27FC236}">
                <a16:creationId xmlns:a16="http://schemas.microsoft.com/office/drawing/2014/main" id="{2713AD48-D5B4-E5CA-6DDF-E339F3E85F33}"/>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A0C335A3-EE55-F05B-FD33-823DE692CF6C}"/>
              </a:ext>
            </a:extLst>
          </p:cNvPr>
          <p:cNvSpPr>
            <a:spLocks noGrp="1"/>
          </p:cNvSpPr>
          <p:nvPr>
            <p:ph type="body" sz="quarter" idx="30"/>
          </p:nvPr>
        </p:nvSpPr>
        <p:spPr>
          <a:xfrm>
            <a:off x="4262488" y="189102"/>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3466DB92-AB89-C473-7ADE-095100E2CD07}"/>
              </a:ext>
            </a:extLst>
          </p:cNvPr>
          <p:cNvSpPr>
            <a:spLocks noGrp="1"/>
          </p:cNvSpPr>
          <p:nvPr>
            <p:ph type="body" sz="quarter" idx="48"/>
          </p:nvPr>
        </p:nvSpPr>
        <p:spPr>
          <a:xfrm>
            <a:off x="5184396" y="1124125"/>
            <a:ext cx="6451134" cy="5259897"/>
          </a:xfrm>
          <a:solidFill>
            <a:schemeClr val="bg1"/>
          </a:solidFill>
        </p:spPr>
        <p:txBody>
          <a:bodyPr/>
          <a:lstStyle/>
          <a:p>
            <a:pPr algn="just">
              <a:spcAft>
                <a:spcPts val="600"/>
              </a:spcAft>
            </a:pPr>
            <a:r>
              <a:rPr lang="en-US" sz="1800" b="1" dirty="0"/>
              <a:t>Öko-Audit-Übung:</a:t>
            </a:r>
          </a:p>
          <a:p>
            <a:pPr algn="just">
              <a:spcAft>
                <a:spcPts val="600"/>
              </a:spcAft>
            </a:pPr>
            <a:r>
              <a:rPr lang="en-US" sz="1800" b="1" dirty="0"/>
              <a:t>Schritt 1: </a:t>
            </a:r>
            <a:r>
              <a:rPr lang="en-US" sz="1800" dirty="0"/>
              <a:t>Erstellen Sie ein hypothetisches/reales Unternehmensszenario mit Angabe der Branche, der Größe und des Betriebsumfangs.</a:t>
            </a:r>
          </a:p>
          <a:p>
            <a:pPr algn="just">
              <a:spcAft>
                <a:spcPts val="600"/>
              </a:spcAft>
            </a:pPr>
            <a:r>
              <a:rPr lang="en-US" sz="1800" b="1" dirty="0"/>
              <a:t>Schritt 2: </a:t>
            </a:r>
            <a:r>
              <a:rPr lang="en-US" sz="1800" dirty="0"/>
              <a:t>Führen Sie ein Öko-Audit durch, um die Umweltauswirkungen des Unternehmens zu bewerten. Zu den Schwerpunktbereichen können Energieverbrauch, Abfallerzeugung, Wasserverbrauch und Treibhausgasemissionen gehören.</a:t>
            </a:r>
          </a:p>
          <a:p>
            <a:pPr algn="just">
              <a:spcAft>
                <a:spcPts val="600"/>
              </a:spcAft>
            </a:pPr>
            <a:r>
              <a:rPr lang="en-US" sz="1800" b="1" dirty="0"/>
              <a:t>Schritt 3: </a:t>
            </a:r>
            <a:r>
              <a:rPr lang="en-US" sz="1800" dirty="0"/>
              <a:t>Identifizieren Sie auf der Grundlage der Audit-Ergebnisse spezifische Bereiche, in denen Verbesserungen möglich sind. Schlagen Sie umsetzbare Strategien zur Verbesserung der Nachhaltigkeit vor, z. B. die Einführung erneuerbarer Energiequellen, die Umsetzung von Programmen zur Abfallverringerung oder die Verbesserung der betrieblichen Effizienz.</a:t>
            </a:r>
          </a:p>
          <a:p>
            <a:pPr algn="just">
              <a:spcAft>
                <a:spcPts val="600"/>
              </a:spcAft>
            </a:pPr>
            <a:r>
              <a:rPr lang="en-US" sz="1800" b="1" dirty="0"/>
              <a:t>Schritt 4: </a:t>
            </a:r>
            <a:r>
              <a:rPr lang="en-US" sz="1800" dirty="0"/>
              <a:t>Erörtern Sie die Durchführbarkeit und die möglichen Auswirkungen der vorgeschlagenen Strategien auf die Umweltleistung des Unternehmens.</a:t>
            </a:r>
          </a:p>
        </p:txBody>
      </p:sp>
    </p:spTree>
    <p:extLst>
      <p:ext uri="{BB962C8B-B14F-4D97-AF65-F5344CB8AC3E}">
        <p14:creationId xmlns:p14="http://schemas.microsoft.com/office/powerpoint/2010/main" val="28114441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CD864F-12FC-444B-495D-A5E327843E5F}"/>
              </a:ext>
            </a:extLst>
          </p:cNvPr>
          <p:cNvSpPr>
            <a:spLocks noGrp="1"/>
          </p:cNvSpPr>
          <p:nvPr>
            <p:ph type="body" sz="quarter" idx="30"/>
          </p:nvPr>
        </p:nvSpPr>
        <p:spPr>
          <a:xfrm>
            <a:off x="6316664" y="147327"/>
            <a:ext cx="4951851" cy="845139"/>
          </a:xfrm>
        </p:spPr>
        <p:txBody>
          <a:bodyPr/>
          <a:lstStyle/>
          <a:p>
            <a:r>
              <a:rPr lang="en-IE" dirty="0"/>
              <a:t>Weitere Ressourcen</a:t>
            </a:r>
          </a:p>
        </p:txBody>
      </p:sp>
      <p:sp>
        <p:nvSpPr>
          <p:cNvPr id="4" name="Text Placeholder 3">
            <a:extLst>
              <a:ext uri="{FF2B5EF4-FFF2-40B4-BE49-F238E27FC236}">
                <a16:creationId xmlns:a16="http://schemas.microsoft.com/office/drawing/2014/main" id="{03217DE6-3467-0A26-1950-9C5913DF9B0A}"/>
              </a:ext>
            </a:extLst>
          </p:cNvPr>
          <p:cNvSpPr>
            <a:spLocks noGrp="1"/>
          </p:cNvSpPr>
          <p:nvPr>
            <p:ph type="body" sz="quarter" idx="48"/>
          </p:nvPr>
        </p:nvSpPr>
        <p:spPr>
          <a:xfrm>
            <a:off x="6316664" y="1023169"/>
            <a:ext cx="4939670" cy="5239479"/>
          </a:xfrm>
        </p:spPr>
        <p:txBody>
          <a:bodyPr/>
          <a:lstStyle/>
          <a:p>
            <a:pPr algn="just">
              <a:spcAft>
                <a:spcPts val="600"/>
              </a:spcAft>
            </a:pPr>
            <a:r>
              <a:rPr lang="en-GB" sz="2400" dirty="0"/>
              <a:t>Diese Lektüre und Materialien bieten wertvolle Einblicke in die Integration von Nachhaltigkeitsprinzipien in den Geschäftsbetrieb und die Ausrichtung auf globale Umweltziele.</a:t>
            </a:r>
          </a:p>
          <a:p>
            <a:pPr marL="342900" indent="-342900" algn="just">
              <a:spcAft>
                <a:spcPts val="600"/>
              </a:spcAft>
              <a:buFont typeface="Arial" panose="020B0604020202020204" pitchFamily="34" charset="0"/>
              <a:buChar char="•"/>
            </a:pPr>
            <a:r>
              <a:rPr lang="en-GB" sz="2400" b="1" dirty="0">
                <a:hlinkClick r:id="rId2"/>
              </a:rPr>
              <a:t>Umweltbewusstes Handeln</a:t>
            </a:r>
            <a:r>
              <a:rPr lang="en-GB" sz="2400" b="1" dirty="0"/>
              <a:t>: Ein Leitfaden für nachhaltige Praktiken</a:t>
            </a:r>
          </a:p>
          <a:p>
            <a:pPr marL="342900" indent="-342900" algn="just">
              <a:spcAft>
                <a:spcPts val="600"/>
              </a:spcAft>
              <a:buFont typeface="Arial" panose="020B0604020202020204" pitchFamily="34" charset="0"/>
              <a:buChar char="•"/>
            </a:pPr>
            <a:r>
              <a:rPr lang="en-GB" sz="2400" b="1" dirty="0">
                <a:hlinkClick r:id="rId3"/>
              </a:rPr>
              <a:t>Was ist nachhaltiges Ressourcenmanagement </a:t>
            </a:r>
            <a:r>
              <a:rPr lang="en-GB" sz="2400" b="1" dirty="0"/>
              <a:t>und wie erreicht man es?</a:t>
            </a:r>
          </a:p>
          <a:p>
            <a:pPr marL="342900" indent="-342900" algn="just">
              <a:spcAft>
                <a:spcPts val="600"/>
              </a:spcAft>
              <a:buFont typeface="Arial" panose="020B0604020202020204" pitchFamily="34" charset="0"/>
              <a:buChar char="•"/>
            </a:pPr>
            <a:r>
              <a:rPr lang="en-GB" sz="2400" b="1" dirty="0">
                <a:hlinkClick r:id="rId4"/>
              </a:rPr>
              <a:t>Unternehmensstrategien zur Bewältigung des Klimawandels</a:t>
            </a:r>
            <a:endParaRPr lang="en-IE" sz="2400" dirty="0"/>
          </a:p>
        </p:txBody>
      </p:sp>
      <p:grpSp>
        <p:nvGrpSpPr>
          <p:cNvPr id="6" name="Graphic 4">
            <a:extLst>
              <a:ext uri="{FF2B5EF4-FFF2-40B4-BE49-F238E27FC236}">
                <a16:creationId xmlns:a16="http://schemas.microsoft.com/office/drawing/2014/main" id="{17776B81-4550-C7C1-F3BB-52A02FF986A6}"/>
              </a:ext>
            </a:extLst>
          </p:cNvPr>
          <p:cNvGrpSpPr/>
          <p:nvPr/>
        </p:nvGrpSpPr>
        <p:grpSpPr>
          <a:xfrm rot="19582332">
            <a:off x="10649810" y="5679215"/>
            <a:ext cx="403667" cy="780438"/>
            <a:chOff x="9129274" y="2719113"/>
            <a:chExt cx="717139" cy="1386497"/>
          </a:xfrm>
          <a:solidFill>
            <a:srgbClr val="09465E"/>
          </a:solidFill>
        </p:grpSpPr>
        <p:grpSp>
          <p:nvGrpSpPr>
            <p:cNvPr id="7" name="Graphic 4">
              <a:extLst>
                <a:ext uri="{FF2B5EF4-FFF2-40B4-BE49-F238E27FC236}">
                  <a16:creationId xmlns:a16="http://schemas.microsoft.com/office/drawing/2014/main" id="{1EF5C066-605D-754F-0837-E58435C6E09B}"/>
                </a:ext>
              </a:extLst>
            </p:cNvPr>
            <p:cNvGrpSpPr/>
            <p:nvPr/>
          </p:nvGrpSpPr>
          <p:grpSpPr>
            <a:xfrm>
              <a:off x="9159507" y="2719113"/>
              <a:ext cx="446280" cy="440141"/>
              <a:chOff x="9159507" y="2719113"/>
              <a:chExt cx="446280" cy="440141"/>
            </a:xfrm>
            <a:grpFill/>
          </p:grpSpPr>
          <p:sp>
            <p:nvSpPr>
              <p:cNvPr id="16" name="Freeform 57">
                <a:extLst>
                  <a:ext uri="{FF2B5EF4-FFF2-40B4-BE49-F238E27FC236}">
                    <a16:creationId xmlns:a16="http://schemas.microsoft.com/office/drawing/2014/main" id="{FD7E0BEE-C643-04DC-B9C9-463F521E6FB3}"/>
                  </a:ext>
                </a:extLst>
              </p:cNvPr>
              <p:cNvSpPr/>
              <p:nvPr/>
            </p:nvSpPr>
            <p:spPr>
              <a:xfrm>
                <a:off x="9159507" y="2719113"/>
                <a:ext cx="446280" cy="440141"/>
              </a:xfrm>
              <a:custGeom>
                <a:avLst/>
                <a:gdLst>
                  <a:gd name="connsiteX0" fmla="*/ 275519 w 446280"/>
                  <a:gd name="connsiteY0" fmla="*/ 440141 h 440141"/>
                  <a:gd name="connsiteX1" fmla="*/ 256120 w 446280"/>
                  <a:gd name="connsiteY1" fmla="*/ 425920 h 440141"/>
                  <a:gd name="connsiteX2" fmla="*/ 270345 w 446280"/>
                  <a:gd name="connsiteY2" fmla="*/ 402649 h 440141"/>
                  <a:gd name="connsiteX3" fmla="*/ 384154 w 446280"/>
                  <a:gd name="connsiteY3" fmla="*/ 316029 h 440141"/>
                  <a:gd name="connsiteX4" fmla="*/ 402261 w 446280"/>
                  <a:gd name="connsiteY4" fmla="*/ 176402 h 440141"/>
                  <a:gd name="connsiteX5" fmla="*/ 316903 w 446280"/>
                  <a:gd name="connsiteY5" fmla="*/ 63925 h 440141"/>
                  <a:gd name="connsiteX6" fmla="*/ 64713 w 446280"/>
                  <a:gd name="connsiteY6" fmla="*/ 131153 h 440141"/>
                  <a:gd name="connsiteX7" fmla="*/ 46607 w 446280"/>
                  <a:gd name="connsiteY7" fmla="*/ 270779 h 440141"/>
                  <a:gd name="connsiteX8" fmla="*/ 131964 w 446280"/>
                  <a:gd name="connsiteY8" fmla="*/ 383256 h 440141"/>
                  <a:gd name="connsiteX9" fmla="*/ 174642 w 446280"/>
                  <a:gd name="connsiteY9" fmla="*/ 401356 h 440141"/>
                  <a:gd name="connsiteX10" fmla="*/ 187575 w 446280"/>
                  <a:gd name="connsiteY10" fmla="*/ 425920 h 440141"/>
                  <a:gd name="connsiteX11" fmla="*/ 163003 w 446280"/>
                  <a:gd name="connsiteY11" fmla="*/ 438848 h 440141"/>
                  <a:gd name="connsiteX12" fmla="*/ 111271 w 446280"/>
                  <a:gd name="connsiteY12" fmla="*/ 416870 h 440141"/>
                  <a:gd name="connsiteX13" fmla="*/ 7808 w 446280"/>
                  <a:gd name="connsiteY13" fmla="*/ 281122 h 440141"/>
                  <a:gd name="connsiteX14" fmla="*/ 29794 w 446280"/>
                  <a:gd name="connsiteY14" fmla="*/ 111760 h 440141"/>
                  <a:gd name="connsiteX15" fmla="*/ 335010 w 446280"/>
                  <a:gd name="connsiteY15" fmla="*/ 30311 h 440141"/>
                  <a:gd name="connsiteX16" fmla="*/ 438473 w 446280"/>
                  <a:gd name="connsiteY16" fmla="*/ 166059 h 440141"/>
                  <a:gd name="connsiteX17" fmla="*/ 416487 w 446280"/>
                  <a:gd name="connsiteY17" fmla="*/ 335421 h 440141"/>
                  <a:gd name="connsiteX18" fmla="*/ 278105 w 446280"/>
                  <a:gd name="connsiteY18" fmla="*/ 440141 h 440141"/>
                  <a:gd name="connsiteX19" fmla="*/ 275519 w 446280"/>
                  <a:gd name="connsiteY19" fmla="*/ 440141 h 4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280" h="440141">
                    <a:moveTo>
                      <a:pt x="275519" y="440141"/>
                    </a:moveTo>
                    <a:cubicBezTo>
                      <a:pt x="266466" y="440141"/>
                      <a:pt x="258705" y="433677"/>
                      <a:pt x="256120" y="425920"/>
                    </a:cubicBezTo>
                    <a:cubicBezTo>
                      <a:pt x="253533" y="415577"/>
                      <a:pt x="259999" y="405234"/>
                      <a:pt x="270345" y="402649"/>
                    </a:cubicBezTo>
                    <a:cubicBezTo>
                      <a:pt x="318197" y="389720"/>
                      <a:pt x="359582" y="359985"/>
                      <a:pt x="384154" y="316029"/>
                    </a:cubicBezTo>
                    <a:cubicBezTo>
                      <a:pt x="408727" y="273365"/>
                      <a:pt x="415194" y="222944"/>
                      <a:pt x="402261" y="176402"/>
                    </a:cubicBezTo>
                    <a:cubicBezTo>
                      <a:pt x="389328" y="128567"/>
                      <a:pt x="359582" y="88489"/>
                      <a:pt x="316903" y="63925"/>
                    </a:cubicBezTo>
                    <a:cubicBezTo>
                      <a:pt x="228960" y="12212"/>
                      <a:pt x="115151" y="43240"/>
                      <a:pt x="64713" y="131153"/>
                    </a:cubicBezTo>
                    <a:cubicBezTo>
                      <a:pt x="40141" y="173816"/>
                      <a:pt x="33674" y="224237"/>
                      <a:pt x="46607" y="270779"/>
                    </a:cubicBezTo>
                    <a:cubicBezTo>
                      <a:pt x="59540" y="318614"/>
                      <a:pt x="89285" y="358692"/>
                      <a:pt x="131964" y="383256"/>
                    </a:cubicBezTo>
                    <a:cubicBezTo>
                      <a:pt x="144896" y="391013"/>
                      <a:pt x="159123" y="397477"/>
                      <a:pt x="174642" y="401356"/>
                    </a:cubicBezTo>
                    <a:cubicBezTo>
                      <a:pt x="184989" y="403942"/>
                      <a:pt x="191455" y="415577"/>
                      <a:pt x="187575" y="425920"/>
                    </a:cubicBezTo>
                    <a:cubicBezTo>
                      <a:pt x="184989" y="436262"/>
                      <a:pt x="173349" y="442727"/>
                      <a:pt x="163003" y="438848"/>
                    </a:cubicBezTo>
                    <a:cubicBezTo>
                      <a:pt x="144896" y="433677"/>
                      <a:pt x="128084" y="425920"/>
                      <a:pt x="111271" y="416870"/>
                    </a:cubicBezTo>
                    <a:cubicBezTo>
                      <a:pt x="59540" y="387135"/>
                      <a:pt x="22034" y="338007"/>
                      <a:pt x="7808" y="281122"/>
                    </a:cubicBezTo>
                    <a:cubicBezTo>
                      <a:pt x="-7711" y="222944"/>
                      <a:pt x="48" y="163474"/>
                      <a:pt x="29794" y="111760"/>
                    </a:cubicBezTo>
                    <a:cubicBezTo>
                      <a:pt x="91872" y="4455"/>
                      <a:pt x="228960" y="-31745"/>
                      <a:pt x="335010" y="30311"/>
                    </a:cubicBezTo>
                    <a:cubicBezTo>
                      <a:pt x="386741" y="60047"/>
                      <a:pt x="424247" y="109175"/>
                      <a:pt x="438473" y="166059"/>
                    </a:cubicBezTo>
                    <a:cubicBezTo>
                      <a:pt x="453992" y="224237"/>
                      <a:pt x="446232" y="283708"/>
                      <a:pt x="416487" y="335421"/>
                    </a:cubicBezTo>
                    <a:cubicBezTo>
                      <a:pt x="386741" y="387135"/>
                      <a:pt x="337596" y="424627"/>
                      <a:pt x="278105" y="440141"/>
                    </a:cubicBezTo>
                    <a:cubicBezTo>
                      <a:pt x="278105" y="438848"/>
                      <a:pt x="276812" y="440141"/>
                      <a:pt x="275519" y="440141"/>
                    </a:cubicBezTo>
                    <a:close/>
                  </a:path>
                </a:pathLst>
              </a:custGeom>
              <a:solidFill>
                <a:srgbClr val="F99F27"/>
              </a:solidFill>
              <a:ln w="12931" cap="flat">
                <a:noFill/>
                <a:prstDash val="solid"/>
                <a:miter/>
              </a:ln>
            </p:spPr>
            <p:txBody>
              <a:bodyPr rtlCol="0" anchor="ctr"/>
              <a:lstStyle/>
              <a:p>
                <a:endParaRPr lang="en-US"/>
              </a:p>
            </p:txBody>
          </p:sp>
          <p:sp>
            <p:nvSpPr>
              <p:cNvPr id="17" name="Freeform 58">
                <a:extLst>
                  <a:ext uri="{FF2B5EF4-FFF2-40B4-BE49-F238E27FC236}">
                    <a16:creationId xmlns:a16="http://schemas.microsoft.com/office/drawing/2014/main" id="{8BC15099-8B11-F264-5555-57B33549F429}"/>
                  </a:ext>
                </a:extLst>
              </p:cNvPr>
              <p:cNvSpPr/>
              <p:nvPr/>
            </p:nvSpPr>
            <p:spPr>
              <a:xfrm>
                <a:off x="9245200" y="2800133"/>
                <a:ext cx="280068" cy="273794"/>
              </a:xfrm>
              <a:custGeom>
                <a:avLst/>
                <a:gdLst>
                  <a:gd name="connsiteX0" fmla="*/ 182066 w 280068"/>
                  <a:gd name="connsiteY0" fmla="*/ 273794 h 273794"/>
                  <a:gd name="connsiteX1" fmla="*/ 163960 w 280068"/>
                  <a:gd name="connsiteY1" fmla="*/ 260866 h 273794"/>
                  <a:gd name="connsiteX2" fmla="*/ 175599 w 280068"/>
                  <a:gd name="connsiteY2" fmla="*/ 236302 h 273794"/>
                  <a:gd name="connsiteX3" fmla="*/ 227331 w 280068"/>
                  <a:gd name="connsiteY3" fmla="*/ 192345 h 273794"/>
                  <a:gd name="connsiteX4" fmla="*/ 191119 w 280068"/>
                  <a:gd name="connsiteY4" fmla="*/ 54012 h 273794"/>
                  <a:gd name="connsiteX5" fmla="*/ 52737 w 280068"/>
                  <a:gd name="connsiteY5" fmla="*/ 90211 h 273794"/>
                  <a:gd name="connsiteX6" fmla="*/ 88949 w 280068"/>
                  <a:gd name="connsiteY6" fmla="*/ 228545 h 273794"/>
                  <a:gd name="connsiteX7" fmla="*/ 95415 w 280068"/>
                  <a:gd name="connsiteY7" fmla="*/ 254402 h 273794"/>
                  <a:gd name="connsiteX8" fmla="*/ 69550 w 280068"/>
                  <a:gd name="connsiteY8" fmla="*/ 260866 h 273794"/>
                  <a:gd name="connsiteX9" fmla="*/ 19112 w 280068"/>
                  <a:gd name="connsiteY9" fmla="*/ 69526 h 273794"/>
                  <a:gd name="connsiteX10" fmla="*/ 210518 w 280068"/>
                  <a:gd name="connsiteY10" fmla="*/ 19105 h 273794"/>
                  <a:gd name="connsiteX11" fmla="*/ 260957 w 280068"/>
                  <a:gd name="connsiteY11" fmla="*/ 210445 h 273794"/>
                  <a:gd name="connsiteX12" fmla="*/ 189826 w 280068"/>
                  <a:gd name="connsiteY12" fmla="*/ 271209 h 273794"/>
                  <a:gd name="connsiteX13" fmla="*/ 182066 w 280068"/>
                  <a:gd name="connsiteY13" fmla="*/ 273794 h 27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068" h="273794">
                    <a:moveTo>
                      <a:pt x="182066" y="273794"/>
                    </a:moveTo>
                    <a:cubicBezTo>
                      <a:pt x="174306" y="273794"/>
                      <a:pt x="166546" y="268623"/>
                      <a:pt x="163960" y="260866"/>
                    </a:cubicBezTo>
                    <a:cubicBezTo>
                      <a:pt x="160080" y="250523"/>
                      <a:pt x="165253" y="240180"/>
                      <a:pt x="175599" y="236302"/>
                    </a:cubicBezTo>
                    <a:cubicBezTo>
                      <a:pt x="197585" y="228545"/>
                      <a:pt x="215692" y="213031"/>
                      <a:pt x="227331" y="192345"/>
                    </a:cubicBezTo>
                    <a:cubicBezTo>
                      <a:pt x="255783" y="144510"/>
                      <a:pt x="238971" y="82454"/>
                      <a:pt x="191119" y="54012"/>
                    </a:cubicBezTo>
                    <a:cubicBezTo>
                      <a:pt x="143267" y="25569"/>
                      <a:pt x="81189" y="42376"/>
                      <a:pt x="52737" y="90211"/>
                    </a:cubicBezTo>
                    <a:cubicBezTo>
                      <a:pt x="24285" y="138046"/>
                      <a:pt x="41098" y="200103"/>
                      <a:pt x="88949" y="228545"/>
                    </a:cubicBezTo>
                    <a:cubicBezTo>
                      <a:pt x="98002" y="233716"/>
                      <a:pt x="101882" y="245352"/>
                      <a:pt x="95415" y="254402"/>
                    </a:cubicBezTo>
                    <a:cubicBezTo>
                      <a:pt x="90243" y="263452"/>
                      <a:pt x="78603" y="267330"/>
                      <a:pt x="69550" y="260866"/>
                    </a:cubicBezTo>
                    <a:cubicBezTo>
                      <a:pt x="2299" y="222081"/>
                      <a:pt x="-19687" y="136753"/>
                      <a:pt x="19112" y="69526"/>
                    </a:cubicBezTo>
                    <a:cubicBezTo>
                      <a:pt x="57910" y="2298"/>
                      <a:pt x="143267" y="-19680"/>
                      <a:pt x="210518" y="19105"/>
                    </a:cubicBezTo>
                    <a:cubicBezTo>
                      <a:pt x="277769" y="57890"/>
                      <a:pt x="299755" y="143218"/>
                      <a:pt x="260957" y="210445"/>
                    </a:cubicBezTo>
                    <a:cubicBezTo>
                      <a:pt x="245437" y="237595"/>
                      <a:pt x="219571" y="259573"/>
                      <a:pt x="189826" y="271209"/>
                    </a:cubicBezTo>
                    <a:cubicBezTo>
                      <a:pt x="185945" y="272501"/>
                      <a:pt x="183359" y="273794"/>
                      <a:pt x="182066" y="273794"/>
                    </a:cubicBezTo>
                    <a:close/>
                  </a:path>
                </a:pathLst>
              </a:custGeom>
              <a:solidFill>
                <a:srgbClr val="F99F27"/>
              </a:solidFill>
              <a:ln w="12931" cap="flat">
                <a:noFill/>
                <a:prstDash val="solid"/>
                <a:miter/>
              </a:ln>
            </p:spPr>
            <p:txBody>
              <a:bodyPr rtlCol="0" anchor="ctr"/>
              <a:lstStyle/>
              <a:p>
                <a:endParaRPr lang="en-US"/>
              </a:p>
            </p:txBody>
          </p:sp>
        </p:grpSp>
        <p:grpSp>
          <p:nvGrpSpPr>
            <p:cNvPr id="8" name="Graphic 4">
              <a:extLst>
                <a:ext uri="{FF2B5EF4-FFF2-40B4-BE49-F238E27FC236}">
                  <a16:creationId xmlns:a16="http://schemas.microsoft.com/office/drawing/2014/main" id="{E1C44782-A9E7-094C-9262-8120AE9D70CE}"/>
                </a:ext>
              </a:extLst>
            </p:cNvPr>
            <p:cNvGrpSpPr/>
            <p:nvPr/>
          </p:nvGrpSpPr>
          <p:grpSpPr>
            <a:xfrm>
              <a:off x="9129274" y="2893887"/>
              <a:ext cx="717139" cy="1211724"/>
              <a:chOff x="9129274" y="2893887"/>
              <a:chExt cx="717139" cy="1211724"/>
            </a:xfrm>
            <a:grpFill/>
          </p:grpSpPr>
          <p:sp>
            <p:nvSpPr>
              <p:cNvPr id="9" name="Freeform 50">
                <a:extLst>
                  <a:ext uri="{FF2B5EF4-FFF2-40B4-BE49-F238E27FC236}">
                    <a16:creationId xmlns:a16="http://schemas.microsoft.com/office/drawing/2014/main" id="{4498C5BB-1E22-7739-1380-79FF5CFA7110}"/>
                  </a:ext>
                </a:extLst>
              </p:cNvPr>
              <p:cNvSpPr/>
              <p:nvPr/>
            </p:nvSpPr>
            <p:spPr>
              <a:xfrm>
                <a:off x="9129274" y="3281518"/>
                <a:ext cx="222449" cy="606896"/>
              </a:xfrm>
              <a:custGeom>
                <a:avLst/>
                <a:gdLst>
                  <a:gd name="connsiteX0" fmla="*/ 200995 w 222449"/>
                  <a:gd name="connsiteY0" fmla="*/ 606896 h 606896"/>
                  <a:gd name="connsiteX1" fmla="*/ 193235 w 222449"/>
                  <a:gd name="connsiteY1" fmla="*/ 605603 h 606896"/>
                  <a:gd name="connsiteX2" fmla="*/ 173836 w 222449"/>
                  <a:gd name="connsiteY2" fmla="*/ 593968 h 606896"/>
                  <a:gd name="connsiteX3" fmla="*/ 169956 w 222449"/>
                  <a:gd name="connsiteY3" fmla="*/ 591382 h 606896"/>
                  <a:gd name="connsiteX4" fmla="*/ 107878 w 222449"/>
                  <a:gd name="connsiteY4" fmla="*/ 531912 h 606896"/>
                  <a:gd name="connsiteX5" fmla="*/ 62613 w 222449"/>
                  <a:gd name="connsiteY5" fmla="*/ 465977 h 606896"/>
                  <a:gd name="connsiteX6" fmla="*/ 8296 w 222449"/>
                  <a:gd name="connsiteY6" fmla="*/ 326350 h 606896"/>
                  <a:gd name="connsiteX7" fmla="*/ 4415 w 222449"/>
                  <a:gd name="connsiteY7" fmla="*/ 306958 h 606896"/>
                  <a:gd name="connsiteX8" fmla="*/ 3122 w 222449"/>
                  <a:gd name="connsiteY8" fmla="*/ 303079 h 606896"/>
                  <a:gd name="connsiteX9" fmla="*/ 1829 w 222449"/>
                  <a:gd name="connsiteY9" fmla="*/ 295322 h 606896"/>
                  <a:gd name="connsiteX10" fmla="*/ 536 w 222449"/>
                  <a:gd name="connsiteY10" fmla="*/ 279808 h 606896"/>
                  <a:gd name="connsiteX11" fmla="*/ 1829 w 222449"/>
                  <a:gd name="connsiteY11" fmla="*/ 243609 h 606896"/>
                  <a:gd name="connsiteX12" fmla="*/ 1829 w 222449"/>
                  <a:gd name="connsiteY12" fmla="*/ 238437 h 606896"/>
                  <a:gd name="connsiteX13" fmla="*/ 7002 w 222449"/>
                  <a:gd name="connsiteY13" fmla="*/ 197067 h 606896"/>
                  <a:gd name="connsiteX14" fmla="*/ 9589 w 222449"/>
                  <a:gd name="connsiteY14" fmla="*/ 175088 h 606896"/>
                  <a:gd name="connsiteX15" fmla="*/ 13468 w 222449"/>
                  <a:gd name="connsiteY15" fmla="*/ 66490 h 606896"/>
                  <a:gd name="connsiteX16" fmla="*/ 13468 w 222449"/>
                  <a:gd name="connsiteY16" fmla="*/ 65197 h 606896"/>
                  <a:gd name="connsiteX17" fmla="*/ 63907 w 222449"/>
                  <a:gd name="connsiteY17" fmla="*/ 555 h 606896"/>
                  <a:gd name="connsiteX18" fmla="*/ 125984 w 222449"/>
                  <a:gd name="connsiteY18" fmla="*/ 39341 h 606896"/>
                  <a:gd name="connsiteX19" fmla="*/ 153143 w 222449"/>
                  <a:gd name="connsiteY19" fmla="*/ 177674 h 606896"/>
                  <a:gd name="connsiteX20" fmla="*/ 155730 w 222449"/>
                  <a:gd name="connsiteY20" fmla="*/ 200945 h 606896"/>
                  <a:gd name="connsiteX21" fmla="*/ 159610 w 222449"/>
                  <a:gd name="connsiteY21" fmla="*/ 238437 h 606896"/>
                  <a:gd name="connsiteX22" fmla="*/ 191942 w 222449"/>
                  <a:gd name="connsiteY22" fmla="*/ 314715 h 606896"/>
                  <a:gd name="connsiteX23" fmla="*/ 193235 w 222449"/>
                  <a:gd name="connsiteY23" fmla="*/ 341864 h 606896"/>
                  <a:gd name="connsiteX24" fmla="*/ 166076 w 222449"/>
                  <a:gd name="connsiteY24" fmla="*/ 343157 h 606896"/>
                  <a:gd name="connsiteX25" fmla="*/ 120811 w 222449"/>
                  <a:gd name="connsiteY25" fmla="*/ 243609 h 606896"/>
                  <a:gd name="connsiteX26" fmla="*/ 116931 w 222449"/>
                  <a:gd name="connsiteY26" fmla="*/ 204824 h 606896"/>
                  <a:gd name="connsiteX27" fmla="*/ 114345 w 222449"/>
                  <a:gd name="connsiteY27" fmla="*/ 181553 h 606896"/>
                  <a:gd name="connsiteX28" fmla="*/ 89773 w 222449"/>
                  <a:gd name="connsiteY28" fmla="*/ 52269 h 606896"/>
                  <a:gd name="connsiteX29" fmla="*/ 69080 w 222449"/>
                  <a:gd name="connsiteY29" fmla="*/ 39341 h 606896"/>
                  <a:gd name="connsiteX30" fmla="*/ 52267 w 222449"/>
                  <a:gd name="connsiteY30" fmla="*/ 61319 h 606896"/>
                  <a:gd name="connsiteX31" fmla="*/ 52267 w 222449"/>
                  <a:gd name="connsiteY31" fmla="*/ 62611 h 606896"/>
                  <a:gd name="connsiteX32" fmla="*/ 48387 w 222449"/>
                  <a:gd name="connsiteY32" fmla="*/ 180260 h 606896"/>
                  <a:gd name="connsiteX33" fmla="*/ 45801 w 222449"/>
                  <a:gd name="connsiteY33" fmla="*/ 202238 h 606896"/>
                  <a:gd name="connsiteX34" fmla="*/ 40628 w 222449"/>
                  <a:gd name="connsiteY34" fmla="*/ 242316 h 606896"/>
                  <a:gd name="connsiteX35" fmla="*/ 40628 w 222449"/>
                  <a:gd name="connsiteY35" fmla="*/ 246195 h 606896"/>
                  <a:gd name="connsiteX36" fmla="*/ 39334 w 222449"/>
                  <a:gd name="connsiteY36" fmla="*/ 277223 h 606896"/>
                  <a:gd name="connsiteX37" fmla="*/ 40628 w 222449"/>
                  <a:gd name="connsiteY37" fmla="*/ 288858 h 606896"/>
                  <a:gd name="connsiteX38" fmla="*/ 41921 w 222449"/>
                  <a:gd name="connsiteY38" fmla="*/ 296615 h 606896"/>
                  <a:gd name="connsiteX39" fmla="*/ 43214 w 222449"/>
                  <a:gd name="connsiteY39" fmla="*/ 300494 h 606896"/>
                  <a:gd name="connsiteX40" fmla="*/ 47094 w 222449"/>
                  <a:gd name="connsiteY40" fmla="*/ 317301 h 606896"/>
                  <a:gd name="connsiteX41" fmla="*/ 97532 w 222449"/>
                  <a:gd name="connsiteY41" fmla="*/ 446584 h 606896"/>
                  <a:gd name="connsiteX42" fmla="*/ 138917 w 222449"/>
                  <a:gd name="connsiteY42" fmla="*/ 507348 h 606896"/>
                  <a:gd name="connsiteX43" fmla="*/ 194528 w 222449"/>
                  <a:gd name="connsiteY43" fmla="*/ 561647 h 606896"/>
                  <a:gd name="connsiteX44" fmla="*/ 198408 w 222449"/>
                  <a:gd name="connsiteY44" fmla="*/ 564233 h 606896"/>
                  <a:gd name="connsiteX45" fmla="*/ 211341 w 222449"/>
                  <a:gd name="connsiteY45" fmla="*/ 571990 h 606896"/>
                  <a:gd name="connsiteX46" fmla="*/ 220394 w 222449"/>
                  <a:gd name="connsiteY46" fmla="*/ 597846 h 606896"/>
                  <a:gd name="connsiteX47" fmla="*/ 200995 w 222449"/>
                  <a:gd name="connsiteY47" fmla="*/ 606896 h 60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2449" h="606896">
                    <a:moveTo>
                      <a:pt x="200995" y="606896"/>
                    </a:moveTo>
                    <a:cubicBezTo>
                      <a:pt x="198408" y="606896"/>
                      <a:pt x="195822" y="606896"/>
                      <a:pt x="193235" y="605603"/>
                    </a:cubicBezTo>
                    <a:cubicBezTo>
                      <a:pt x="186769" y="601725"/>
                      <a:pt x="180303" y="597846"/>
                      <a:pt x="173836" y="593968"/>
                    </a:cubicBezTo>
                    <a:lnTo>
                      <a:pt x="169956" y="591382"/>
                    </a:lnTo>
                    <a:cubicBezTo>
                      <a:pt x="147970" y="574575"/>
                      <a:pt x="125984" y="553890"/>
                      <a:pt x="107878" y="531912"/>
                    </a:cubicBezTo>
                    <a:cubicBezTo>
                      <a:pt x="91066" y="511226"/>
                      <a:pt x="75546" y="489248"/>
                      <a:pt x="62613" y="465977"/>
                    </a:cubicBezTo>
                    <a:cubicBezTo>
                      <a:pt x="38041" y="422020"/>
                      <a:pt x="21229" y="376771"/>
                      <a:pt x="8296" y="326350"/>
                    </a:cubicBezTo>
                    <a:cubicBezTo>
                      <a:pt x="7002" y="319886"/>
                      <a:pt x="5709" y="313422"/>
                      <a:pt x="4415" y="306958"/>
                    </a:cubicBezTo>
                    <a:lnTo>
                      <a:pt x="3122" y="303079"/>
                    </a:lnTo>
                    <a:cubicBezTo>
                      <a:pt x="3122" y="300494"/>
                      <a:pt x="1829" y="297908"/>
                      <a:pt x="1829" y="295322"/>
                    </a:cubicBezTo>
                    <a:cubicBezTo>
                      <a:pt x="536" y="288858"/>
                      <a:pt x="536" y="283687"/>
                      <a:pt x="536" y="279808"/>
                    </a:cubicBezTo>
                    <a:cubicBezTo>
                      <a:pt x="-757" y="264294"/>
                      <a:pt x="536" y="253951"/>
                      <a:pt x="1829" y="243609"/>
                    </a:cubicBezTo>
                    <a:lnTo>
                      <a:pt x="1829" y="238437"/>
                    </a:lnTo>
                    <a:cubicBezTo>
                      <a:pt x="3122" y="222923"/>
                      <a:pt x="4415" y="209995"/>
                      <a:pt x="7002" y="197067"/>
                    </a:cubicBezTo>
                    <a:cubicBezTo>
                      <a:pt x="8296" y="189310"/>
                      <a:pt x="8296" y="182845"/>
                      <a:pt x="9589" y="175088"/>
                    </a:cubicBezTo>
                    <a:cubicBezTo>
                      <a:pt x="14762" y="132425"/>
                      <a:pt x="17348" y="97518"/>
                      <a:pt x="13468" y="66490"/>
                    </a:cubicBezTo>
                    <a:lnTo>
                      <a:pt x="13468" y="65197"/>
                    </a:lnTo>
                    <a:cubicBezTo>
                      <a:pt x="9589" y="32876"/>
                      <a:pt x="32868" y="4434"/>
                      <a:pt x="63907" y="555"/>
                    </a:cubicBezTo>
                    <a:cubicBezTo>
                      <a:pt x="91066" y="-3323"/>
                      <a:pt x="116931" y="13484"/>
                      <a:pt x="125984" y="39341"/>
                    </a:cubicBezTo>
                    <a:cubicBezTo>
                      <a:pt x="142797" y="85883"/>
                      <a:pt x="147970" y="131132"/>
                      <a:pt x="153143" y="177674"/>
                    </a:cubicBezTo>
                    <a:cubicBezTo>
                      <a:pt x="154437" y="185431"/>
                      <a:pt x="154437" y="193188"/>
                      <a:pt x="155730" y="200945"/>
                    </a:cubicBezTo>
                    <a:cubicBezTo>
                      <a:pt x="157024" y="213874"/>
                      <a:pt x="158317" y="226802"/>
                      <a:pt x="159610" y="238437"/>
                    </a:cubicBezTo>
                    <a:cubicBezTo>
                      <a:pt x="166076" y="284980"/>
                      <a:pt x="185475" y="306958"/>
                      <a:pt x="191942" y="314715"/>
                    </a:cubicBezTo>
                    <a:cubicBezTo>
                      <a:pt x="199702" y="322472"/>
                      <a:pt x="199702" y="334107"/>
                      <a:pt x="193235" y="341864"/>
                    </a:cubicBezTo>
                    <a:cubicBezTo>
                      <a:pt x="185475" y="349622"/>
                      <a:pt x="173836" y="349622"/>
                      <a:pt x="166076" y="343157"/>
                    </a:cubicBezTo>
                    <a:cubicBezTo>
                      <a:pt x="153143" y="330229"/>
                      <a:pt x="129864" y="301786"/>
                      <a:pt x="120811" y="243609"/>
                    </a:cubicBezTo>
                    <a:cubicBezTo>
                      <a:pt x="119518" y="230680"/>
                      <a:pt x="118225" y="217752"/>
                      <a:pt x="116931" y="204824"/>
                    </a:cubicBezTo>
                    <a:cubicBezTo>
                      <a:pt x="115638" y="197067"/>
                      <a:pt x="115638" y="189310"/>
                      <a:pt x="114345" y="181553"/>
                    </a:cubicBezTo>
                    <a:cubicBezTo>
                      <a:pt x="109172" y="136303"/>
                      <a:pt x="103998" y="94932"/>
                      <a:pt x="89773" y="52269"/>
                    </a:cubicBezTo>
                    <a:cubicBezTo>
                      <a:pt x="87186" y="43219"/>
                      <a:pt x="78133" y="38048"/>
                      <a:pt x="69080" y="39341"/>
                    </a:cubicBezTo>
                    <a:cubicBezTo>
                      <a:pt x="58733" y="40633"/>
                      <a:pt x="50974" y="50976"/>
                      <a:pt x="52267" y="61319"/>
                    </a:cubicBezTo>
                    <a:lnTo>
                      <a:pt x="52267" y="62611"/>
                    </a:lnTo>
                    <a:cubicBezTo>
                      <a:pt x="56147" y="97518"/>
                      <a:pt x="53561" y="135010"/>
                      <a:pt x="48387" y="180260"/>
                    </a:cubicBezTo>
                    <a:cubicBezTo>
                      <a:pt x="47094" y="188017"/>
                      <a:pt x="47094" y="194481"/>
                      <a:pt x="45801" y="202238"/>
                    </a:cubicBezTo>
                    <a:cubicBezTo>
                      <a:pt x="44508" y="215166"/>
                      <a:pt x="41921" y="228095"/>
                      <a:pt x="40628" y="242316"/>
                    </a:cubicBezTo>
                    <a:lnTo>
                      <a:pt x="40628" y="246195"/>
                    </a:lnTo>
                    <a:cubicBezTo>
                      <a:pt x="39334" y="256537"/>
                      <a:pt x="39334" y="265587"/>
                      <a:pt x="39334" y="277223"/>
                    </a:cubicBezTo>
                    <a:cubicBezTo>
                      <a:pt x="39334" y="279808"/>
                      <a:pt x="40628" y="284980"/>
                      <a:pt x="40628" y="288858"/>
                    </a:cubicBezTo>
                    <a:cubicBezTo>
                      <a:pt x="40628" y="292737"/>
                      <a:pt x="41921" y="294030"/>
                      <a:pt x="41921" y="296615"/>
                    </a:cubicBezTo>
                    <a:lnTo>
                      <a:pt x="43214" y="300494"/>
                    </a:lnTo>
                    <a:cubicBezTo>
                      <a:pt x="44508" y="305665"/>
                      <a:pt x="45801" y="312129"/>
                      <a:pt x="47094" y="317301"/>
                    </a:cubicBezTo>
                    <a:cubicBezTo>
                      <a:pt x="58733" y="363843"/>
                      <a:pt x="75546" y="406506"/>
                      <a:pt x="97532" y="446584"/>
                    </a:cubicBezTo>
                    <a:cubicBezTo>
                      <a:pt x="109172" y="468563"/>
                      <a:pt x="123398" y="487955"/>
                      <a:pt x="138917" y="507348"/>
                    </a:cubicBezTo>
                    <a:cubicBezTo>
                      <a:pt x="155730" y="526740"/>
                      <a:pt x="175129" y="544840"/>
                      <a:pt x="194528" y="561647"/>
                    </a:cubicBezTo>
                    <a:lnTo>
                      <a:pt x="198408" y="564233"/>
                    </a:lnTo>
                    <a:cubicBezTo>
                      <a:pt x="202289" y="566818"/>
                      <a:pt x="206168" y="569404"/>
                      <a:pt x="211341" y="571990"/>
                    </a:cubicBezTo>
                    <a:cubicBezTo>
                      <a:pt x="220394" y="577161"/>
                      <a:pt x="225568" y="587504"/>
                      <a:pt x="220394" y="597846"/>
                    </a:cubicBezTo>
                    <a:cubicBezTo>
                      <a:pt x="215222" y="603018"/>
                      <a:pt x="207461" y="606896"/>
                      <a:pt x="200995" y="606896"/>
                    </a:cubicBezTo>
                    <a:close/>
                  </a:path>
                </a:pathLst>
              </a:custGeom>
              <a:grpFill/>
              <a:ln w="12931" cap="flat">
                <a:noFill/>
                <a:prstDash val="solid"/>
                <a:miter/>
              </a:ln>
            </p:spPr>
            <p:txBody>
              <a:bodyPr rtlCol="0" anchor="ctr"/>
              <a:lstStyle/>
              <a:p>
                <a:endParaRPr lang="en-US"/>
              </a:p>
            </p:txBody>
          </p:sp>
          <p:sp>
            <p:nvSpPr>
              <p:cNvPr id="10" name="Freeform 51">
                <a:extLst>
                  <a:ext uri="{FF2B5EF4-FFF2-40B4-BE49-F238E27FC236}">
                    <a16:creationId xmlns:a16="http://schemas.microsoft.com/office/drawing/2014/main" id="{1313DEFC-8ECE-9BFE-5917-9963DB2A78EC}"/>
                  </a:ext>
                </a:extLst>
              </p:cNvPr>
              <p:cNvSpPr/>
              <p:nvPr/>
            </p:nvSpPr>
            <p:spPr>
              <a:xfrm>
                <a:off x="9683286" y="3335599"/>
                <a:ext cx="163004" cy="201164"/>
              </a:xfrm>
              <a:custGeom>
                <a:avLst/>
                <a:gdLst>
                  <a:gd name="connsiteX0" fmla="*/ 143605 w 163004"/>
                  <a:gd name="connsiteY0" fmla="*/ 201164 h 201164"/>
                  <a:gd name="connsiteX1" fmla="*/ 124206 w 163004"/>
                  <a:gd name="connsiteY1" fmla="*/ 181772 h 201164"/>
                  <a:gd name="connsiteX2" fmla="*/ 82820 w 163004"/>
                  <a:gd name="connsiteY2" fmla="*/ 57659 h 201164"/>
                  <a:gd name="connsiteX3" fmla="*/ 29796 w 163004"/>
                  <a:gd name="connsiteY3" fmla="*/ 44731 h 201164"/>
                  <a:gd name="connsiteX4" fmla="*/ 2636 w 163004"/>
                  <a:gd name="connsiteY4" fmla="*/ 38266 h 201164"/>
                  <a:gd name="connsiteX5" fmla="*/ 9103 w 163004"/>
                  <a:gd name="connsiteY5" fmla="*/ 11117 h 201164"/>
                  <a:gd name="connsiteX6" fmla="*/ 116445 w 163004"/>
                  <a:gd name="connsiteY6" fmla="*/ 36974 h 201164"/>
                  <a:gd name="connsiteX7" fmla="*/ 163004 w 163004"/>
                  <a:gd name="connsiteY7" fmla="*/ 181772 h 201164"/>
                  <a:gd name="connsiteX8" fmla="*/ 143605 w 163004"/>
                  <a:gd name="connsiteY8" fmla="*/ 201164 h 201164"/>
                  <a:gd name="connsiteX9" fmla="*/ 143605 w 163004"/>
                  <a:gd name="connsiteY9" fmla="*/ 201164 h 20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04" h="201164">
                    <a:moveTo>
                      <a:pt x="143605" y="201164"/>
                    </a:moveTo>
                    <a:cubicBezTo>
                      <a:pt x="133259" y="201164"/>
                      <a:pt x="124206" y="192114"/>
                      <a:pt x="124206" y="181772"/>
                    </a:cubicBezTo>
                    <a:cubicBezTo>
                      <a:pt x="124206" y="132644"/>
                      <a:pt x="108686" y="99030"/>
                      <a:pt x="82820" y="57659"/>
                    </a:cubicBezTo>
                    <a:cubicBezTo>
                      <a:pt x="71180" y="39559"/>
                      <a:pt x="47901" y="33095"/>
                      <a:pt x="29796" y="44731"/>
                    </a:cubicBezTo>
                    <a:cubicBezTo>
                      <a:pt x="20743" y="49902"/>
                      <a:pt x="9103" y="47316"/>
                      <a:pt x="2636" y="38266"/>
                    </a:cubicBezTo>
                    <a:cubicBezTo>
                      <a:pt x="-2536" y="29217"/>
                      <a:pt x="50" y="17581"/>
                      <a:pt x="9103" y="11117"/>
                    </a:cubicBezTo>
                    <a:cubicBezTo>
                      <a:pt x="45315" y="-10861"/>
                      <a:pt x="93166" y="774"/>
                      <a:pt x="116445" y="36974"/>
                    </a:cubicBezTo>
                    <a:cubicBezTo>
                      <a:pt x="144898" y="83516"/>
                      <a:pt x="163004" y="123594"/>
                      <a:pt x="163004" y="181772"/>
                    </a:cubicBezTo>
                    <a:cubicBezTo>
                      <a:pt x="163004" y="192114"/>
                      <a:pt x="155244" y="201164"/>
                      <a:pt x="143605" y="201164"/>
                    </a:cubicBezTo>
                    <a:cubicBezTo>
                      <a:pt x="143605" y="201164"/>
                      <a:pt x="143605" y="201164"/>
                      <a:pt x="143605" y="201164"/>
                    </a:cubicBezTo>
                    <a:close/>
                  </a:path>
                </a:pathLst>
              </a:custGeom>
              <a:grpFill/>
              <a:ln w="12931" cap="flat">
                <a:noFill/>
                <a:prstDash val="solid"/>
                <a:miter/>
              </a:ln>
            </p:spPr>
            <p:txBody>
              <a:bodyPr rtlCol="0" anchor="ctr"/>
              <a:lstStyle/>
              <a:p>
                <a:endParaRPr lang="en-US"/>
              </a:p>
            </p:txBody>
          </p:sp>
          <p:sp>
            <p:nvSpPr>
              <p:cNvPr id="11" name="Freeform 52">
                <a:extLst>
                  <a:ext uri="{FF2B5EF4-FFF2-40B4-BE49-F238E27FC236}">
                    <a16:creationId xmlns:a16="http://schemas.microsoft.com/office/drawing/2014/main" id="{1FAD6608-078D-D25B-6D86-8F4B7320394A}"/>
                  </a:ext>
                </a:extLst>
              </p:cNvPr>
              <p:cNvSpPr/>
              <p:nvPr/>
            </p:nvSpPr>
            <p:spPr>
              <a:xfrm>
                <a:off x="9546086" y="3281250"/>
                <a:ext cx="205957" cy="241291"/>
              </a:xfrm>
              <a:custGeom>
                <a:avLst/>
                <a:gdLst>
                  <a:gd name="connsiteX0" fmla="*/ 187688 w 205957"/>
                  <a:gd name="connsiteY0" fmla="*/ 241292 h 241291"/>
                  <a:gd name="connsiteX1" fmla="*/ 168289 w 205957"/>
                  <a:gd name="connsiteY1" fmla="*/ 224485 h 241291"/>
                  <a:gd name="connsiteX2" fmla="*/ 135957 w 205957"/>
                  <a:gd name="connsiteY2" fmla="*/ 132693 h 241291"/>
                  <a:gd name="connsiteX3" fmla="*/ 108798 w 205957"/>
                  <a:gd name="connsiteY3" fmla="*/ 69344 h 241291"/>
                  <a:gd name="connsiteX4" fmla="*/ 75172 w 205957"/>
                  <a:gd name="connsiteY4" fmla="*/ 39609 h 241291"/>
                  <a:gd name="connsiteX5" fmla="*/ 35081 w 205957"/>
                  <a:gd name="connsiteY5" fmla="*/ 61587 h 241291"/>
                  <a:gd name="connsiteX6" fmla="*/ 7921 w 205957"/>
                  <a:gd name="connsiteY6" fmla="*/ 65466 h 241291"/>
                  <a:gd name="connsiteX7" fmla="*/ 4041 w 205957"/>
                  <a:gd name="connsiteY7" fmla="*/ 38316 h 241291"/>
                  <a:gd name="connsiteX8" fmla="*/ 81639 w 205957"/>
                  <a:gd name="connsiteY8" fmla="*/ 824 h 241291"/>
                  <a:gd name="connsiteX9" fmla="*/ 146303 w 205957"/>
                  <a:gd name="connsiteY9" fmla="*/ 56416 h 241291"/>
                  <a:gd name="connsiteX10" fmla="*/ 170876 w 205957"/>
                  <a:gd name="connsiteY10" fmla="*/ 115887 h 241291"/>
                  <a:gd name="connsiteX11" fmla="*/ 205794 w 205957"/>
                  <a:gd name="connsiteY11" fmla="*/ 218021 h 241291"/>
                  <a:gd name="connsiteX12" fmla="*/ 188981 w 205957"/>
                  <a:gd name="connsiteY12" fmla="*/ 239999 h 241291"/>
                  <a:gd name="connsiteX13" fmla="*/ 187688 w 205957"/>
                  <a:gd name="connsiteY13" fmla="*/ 241292 h 24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57" h="241291">
                    <a:moveTo>
                      <a:pt x="187688" y="241292"/>
                    </a:moveTo>
                    <a:cubicBezTo>
                      <a:pt x="178635" y="241292"/>
                      <a:pt x="169582" y="234828"/>
                      <a:pt x="168289" y="224485"/>
                    </a:cubicBezTo>
                    <a:cubicBezTo>
                      <a:pt x="163115" y="189578"/>
                      <a:pt x="148890" y="161136"/>
                      <a:pt x="135957" y="132693"/>
                    </a:cubicBezTo>
                    <a:cubicBezTo>
                      <a:pt x="126904" y="113301"/>
                      <a:pt x="116557" y="92615"/>
                      <a:pt x="108798" y="69344"/>
                    </a:cubicBezTo>
                    <a:cubicBezTo>
                      <a:pt x="104918" y="59002"/>
                      <a:pt x="91985" y="42195"/>
                      <a:pt x="75172" y="39609"/>
                    </a:cubicBezTo>
                    <a:cubicBezTo>
                      <a:pt x="62239" y="37023"/>
                      <a:pt x="48013" y="44780"/>
                      <a:pt x="35081" y="61587"/>
                    </a:cubicBezTo>
                    <a:cubicBezTo>
                      <a:pt x="28614" y="70637"/>
                      <a:pt x="16974" y="71930"/>
                      <a:pt x="7921" y="65466"/>
                    </a:cubicBezTo>
                    <a:cubicBezTo>
                      <a:pt x="-1131" y="59002"/>
                      <a:pt x="-2425" y="47366"/>
                      <a:pt x="4041" y="38316"/>
                    </a:cubicBezTo>
                    <a:cubicBezTo>
                      <a:pt x="32494" y="-469"/>
                      <a:pt x="64826" y="-1762"/>
                      <a:pt x="81639" y="824"/>
                    </a:cubicBezTo>
                    <a:cubicBezTo>
                      <a:pt x="113971" y="5995"/>
                      <a:pt x="138543" y="33145"/>
                      <a:pt x="146303" y="56416"/>
                    </a:cubicBezTo>
                    <a:cubicBezTo>
                      <a:pt x="154063" y="78394"/>
                      <a:pt x="163115" y="97787"/>
                      <a:pt x="170876" y="115887"/>
                    </a:cubicBezTo>
                    <a:cubicBezTo>
                      <a:pt x="185101" y="145622"/>
                      <a:pt x="200621" y="177943"/>
                      <a:pt x="205794" y="218021"/>
                    </a:cubicBezTo>
                    <a:cubicBezTo>
                      <a:pt x="207087" y="228363"/>
                      <a:pt x="200621" y="238706"/>
                      <a:pt x="188981" y="239999"/>
                    </a:cubicBezTo>
                    <a:cubicBezTo>
                      <a:pt x="188981" y="241292"/>
                      <a:pt x="188981" y="241292"/>
                      <a:pt x="187688" y="241292"/>
                    </a:cubicBezTo>
                    <a:close/>
                  </a:path>
                </a:pathLst>
              </a:custGeom>
              <a:grpFill/>
              <a:ln w="12931" cap="flat">
                <a:noFill/>
                <a:prstDash val="solid"/>
                <a:miter/>
              </a:ln>
            </p:spPr>
            <p:txBody>
              <a:bodyPr rtlCol="0" anchor="ctr"/>
              <a:lstStyle/>
              <a:p>
                <a:endParaRPr lang="en-US"/>
              </a:p>
            </p:txBody>
          </p:sp>
          <p:sp>
            <p:nvSpPr>
              <p:cNvPr id="12" name="Freeform 53">
                <a:extLst>
                  <a:ext uri="{FF2B5EF4-FFF2-40B4-BE49-F238E27FC236}">
                    <a16:creationId xmlns:a16="http://schemas.microsoft.com/office/drawing/2014/main" id="{C3AFE2EB-6CCB-BC0E-A3FD-668C21F69031}"/>
                  </a:ext>
                </a:extLst>
              </p:cNvPr>
              <p:cNvSpPr/>
              <p:nvPr/>
            </p:nvSpPr>
            <p:spPr>
              <a:xfrm>
                <a:off x="9432178" y="3236028"/>
                <a:ext cx="185859" cy="216700"/>
              </a:xfrm>
              <a:custGeom>
                <a:avLst/>
                <a:gdLst>
                  <a:gd name="connsiteX0" fmla="*/ 165801 w 185859"/>
                  <a:gd name="connsiteY0" fmla="*/ 216700 h 216700"/>
                  <a:gd name="connsiteX1" fmla="*/ 147695 w 185859"/>
                  <a:gd name="connsiteY1" fmla="*/ 202479 h 216700"/>
                  <a:gd name="connsiteX2" fmla="*/ 141228 w 185859"/>
                  <a:gd name="connsiteY2" fmla="*/ 179208 h 216700"/>
                  <a:gd name="connsiteX3" fmla="*/ 139935 w 185859"/>
                  <a:gd name="connsiteY3" fmla="*/ 176622 h 216700"/>
                  <a:gd name="connsiteX4" fmla="*/ 102430 w 185859"/>
                  <a:gd name="connsiteY4" fmla="*/ 64146 h 216700"/>
                  <a:gd name="connsiteX5" fmla="*/ 68805 w 185859"/>
                  <a:gd name="connsiteY5" fmla="*/ 38289 h 216700"/>
                  <a:gd name="connsiteX6" fmla="*/ 33886 w 185859"/>
                  <a:gd name="connsiteY6" fmla="*/ 55096 h 216700"/>
                  <a:gd name="connsiteX7" fmla="*/ 6727 w 185859"/>
                  <a:gd name="connsiteY7" fmla="*/ 57681 h 216700"/>
                  <a:gd name="connsiteX8" fmla="*/ 4140 w 185859"/>
                  <a:gd name="connsiteY8" fmla="*/ 30532 h 216700"/>
                  <a:gd name="connsiteX9" fmla="*/ 75271 w 185859"/>
                  <a:gd name="connsiteY9" fmla="*/ 797 h 216700"/>
                  <a:gd name="connsiteX10" fmla="*/ 138642 w 185859"/>
                  <a:gd name="connsiteY10" fmla="*/ 49924 h 216700"/>
                  <a:gd name="connsiteX11" fmla="*/ 177441 w 185859"/>
                  <a:gd name="connsiteY11" fmla="*/ 166280 h 216700"/>
                  <a:gd name="connsiteX12" fmla="*/ 178734 w 185859"/>
                  <a:gd name="connsiteY12" fmla="*/ 168866 h 216700"/>
                  <a:gd name="connsiteX13" fmla="*/ 185200 w 185859"/>
                  <a:gd name="connsiteY13" fmla="*/ 192136 h 216700"/>
                  <a:gd name="connsiteX14" fmla="*/ 172268 w 185859"/>
                  <a:gd name="connsiteY14" fmla="*/ 216700 h 216700"/>
                  <a:gd name="connsiteX15" fmla="*/ 165801 w 185859"/>
                  <a:gd name="connsiteY15" fmla="*/ 216700 h 21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859" h="216700">
                    <a:moveTo>
                      <a:pt x="165801" y="216700"/>
                    </a:moveTo>
                    <a:cubicBezTo>
                      <a:pt x="158042" y="216700"/>
                      <a:pt x="150282" y="211529"/>
                      <a:pt x="147695" y="202479"/>
                    </a:cubicBezTo>
                    <a:cubicBezTo>
                      <a:pt x="145109" y="194722"/>
                      <a:pt x="142522" y="186965"/>
                      <a:pt x="141228" y="179208"/>
                    </a:cubicBezTo>
                    <a:lnTo>
                      <a:pt x="139935" y="176622"/>
                    </a:lnTo>
                    <a:cubicBezTo>
                      <a:pt x="129589" y="141716"/>
                      <a:pt x="123123" y="114566"/>
                      <a:pt x="102430" y="64146"/>
                    </a:cubicBezTo>
                    <a:cubicBezTo>
                      <a:pt x="98550" y="53803"/>
                      <a:pt x="84324" y="40875"/>
                      <a:pt x="68805" y="38289"/>
                    </a:cubicBezTo>
                    <a:cubicBezTo>
                      <a:pt x="55872" y="35703"/>
                      <a:pt x="44232" y="42167"/>
                      <a:pt x="33886" y="55096"/>
                    </a:cubicBezTo>
                    <a:cubicBezTo>
                      <a:pt x="27419" y="62853"/>
                      <a:pt x="14487" y="64146"/>
                      <a:pt x="6727" y="57681"/>
                    </a:cubicBezTo>
                    <a:cubicBezTo>
                      <a:pt x="-1033" y="51217"/>
                      <a:pt x="-2326" y="38289"/>
                      <a:pt x="4140" y="30532"/>
                    </a:cubicBezTo>
                    <a:cubicBezTo>
                      <a:pt x="23540" y="7261"/>
                      <a:pt x="49405" y="-3082"/>
                      <a:pt x="75271" y="797"/>
                    </a:cubicBezTo>
                    <a:cubicBezTo>
                      <a:pt x="102430" y="4675"/>
                      <a:pt x="128296" y="25360"/>
                      <a:pt x="138642" y="49924"/>
                    </a:cubicBezTo>
                    <a:cubicBezTo>
                      <a:pt x="159335" y="102931"/>
                      <a:pt x="167094" y="130080"/>
                      <a:pt x="177441" y="166280"/>
                    </a:cubicBezTo>
                    <a:lnTo>
                      <a:pt x="178734" y="168866"/>
                    </a:lnTo>
                    <a:cubicBezTo>
                      <a:pt x="181321" y="175330"/>
                      <a:pt x="182614" y="183087"/>
                      <a:pt x="185200" y="192136"/>
                    </a:cubicBezTo>
                    <a:cubicBezTo>
                      <a:pt x="187787" y="202479"/>
                      <a:pt x="182614" y="212822"/>
                      <a:pt x="172268" y="216700"/>
                    </a:cubicBezTo>
                    <a:cubicBezTo>
                      <a:pt x="168388" y="215408"/>
                      <a:pt x="167094" y="216700"/>
                      <a:pt x="165801" y="216700"/>
                    </a:cubicBezTo>
                    <a:close/>
                  </a:path>
                </a:pathLst>
              </a:custGeom>
              <a:grpFill/>
              <a:ln w="12931" cap="flat">
                <a:noFill/>
                <a:prstDash val="solid"/>
                <a:miter/>
              </a:ln>
            </p:spPr>
            <p:txBody>
              <a:bodyPr rtlCol="0" anchor="ctr"/>
              <a:lstStyle/>
              <a:p>
                <a:endParaRPr lang="en-US"/>
              </a:p>
            </p:txBody>
          </p:sp>
          <p:sp>
            <p:nvSpPr>
              <p:cNvPr id="13" name="Freeform 54">
                <a:extLst>
                  <a:ext uri="{FF2B5EF4-FFF2-40B4-BE49-F238E27FC236}">
                    <a16:creationId xmlns:a16="http://schemas.microsoft.com/office/drawing/2014/main" id="{95E81E78-0205-250A-F883-F16E202FA741}"/>
                  </a:ext>
                </a:extLst>
              </p:cNvPr>
              <p:cNvSpPr/>
              <p:nvPr/>
            </p:nvSpPr>
            <p:spPr>
              <a:xfrm>
                <a:off x="9312890" y="3851649"/>
                <a:ext cx="85195" cy="252669"/>
              </a:xfrm>
              <a:custGeom>
                <a:avLst/>
                <a:gdLst>
                  <a:gd name="connsiteX0" fmla="*/ 65230 w 85195"/>
                  <a:gd name="connsiteY0" fmla="*/ 252669 h 252669"/>
                  <a:gd name="connsiteX1" fmla="*/ 45831 w 85195"/>
                  <a:gd name="connsiteY1" fmla="*/ 237155 h 252669"/>
                  <a:gd name="connsiteX2" fmla="*/ 566 w 85195"/>
                  <a:gd name="connsiteY2" fmla="*/ 23837 h 252669"/>
                  <a:gd name="connsiteX3" fmla="*/ 16086 w 85195"/>
                  <a:gd name="connsiteY3" fmla="*/ 566 h 252669"/>
                  <a:gd name="connsiteX4" fmla="*/ 39365 w 85195"/>
                  <a:gd name="connsiteY4" fmla="*/ 16080 h 252669"/>
                  <a:gd name="connsiteX5" fmla="*/ 84630 w 85195"/>
                  <a:gd name="connsiteY5" fmla="*/ 229398 h 252669"/>
                  <a:gd name="connsiteX6" fmla="*/ 69110 w 85195"/>
                  <a:gd name="connsiteY6" fmla="*/ 252669 h 252669"/>
                  <a:gd name="connsiteX7" fmla="*/ 65230 w 85195"/>
                  <a:gd name="connsiteY7" fmla="*/ 252669 h 2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95" h="252669">
                    <a:moveTo>
                      <a:pt x="65230" y="252669"/>
                    </a:moveTo>
                    <a:cubicBezTo>
                      <a:pt x="56177" y="252669"/>
                      <a:pt x="48418" y="246205"/>
                      <a:pt x="45831" y="237155"/>
                    </a:cubicBezTo>
                    <a:lnTo>
                      <a:pt x="566" y="23837"/>
                    </a:lnTo>
                    <a:cubicBezTo>
                      <a:pt x="-2021" y="13494"/>
                      <a:pt x="4446" y="3152"/>
                      <a:pt x="16086" y="566"/>
                    </a:cubicBezTo>
                    <a:cubicBezTo>
                      <a:pt x="26432" y="-2020"/>
                      <a:pt x="36778" y="4444"/>
                      <a:pt x="39365" y="16080"/>
                    </a:cubicBezTo>
                    <a:lnTo>
                      <a:pt x="84630" y="229398"/>
                    </a:lnTo>
                    <a:cubicBezTo>
                      <a:pt x="87217" y="239741"/>
                      <a:pt x="80750" y="250084"/>
                      <a:pt x="69110" y="252669"/>
                    </a:cubicBezTo>
                    <a:cubicBezTo>
                      <a:pt x="67817" y="252669"/>
                      <a:pt x="66523" y="252669"/>
                      <a:pt x="65230" y="252669"/>
                    </a:cubicBezTo>
                    <a:close/>
                  </a:path>
                </a:pathLst>
              </a:custGeom>
              <a:grpFill/>
              <a:ln w="12931" cap="flat">
                <a:noFill/>
                <a:prstDash val="solid"/>
                <a:miter/>
              </a:ln>
            </p:spPr>
            <p:txBody>
              <a:bodyPr rtlCol="0" anchor="ctr"/>
              <a:lstStyle/>
              <a:p>
                <a:endParaRPr lang="en-US"/>
              </a:p>
            </p:txBody>
          </p:sp>
          <p:sp>
            <p:nvSpPr>
              <p:cNvPr id="14" name="Freeform 55">
                <a:extLst>
                  <a:ext uri="{FF2B5EF4-FFF2-40B4-BE49-F238E27FC236}">
                    <a16:creationId xmlns:a16="http://schemas.microsoft.com/office/drawing/2014/main" id="{FE0FAA71-573B-BAC3-0FA2-8D08D4D5BD1F}"/>
                  </a:ext>
                </a:extLst>
              </p:cNvPr>
              <p:cNvSpPr/>
              <p:nvPr/>
            </p:nvSpPr>
            <p:spPr>
              <a:xfrm>
                <a:off x="9682801" y="3503025"/>
                <a:ext cx="163613" cy="602585"/>
              </a:xfrm>
              <a:custGeom>
                <a:avLst/>
                <a:gdLst>
                  <a:gd name="connsiteX0" fmla="*/ 62614 w 163613"/>
                  <a:gd name="connsiteY0" fmla="*/ 601293 h 602585"/>
                  <a:gd name="connsiteX1" fmla="*/ 43215 w 163613"/>
                  <a:gd name="connsiteY1" fmla="*/ 585779 h 602585"/>
                  <a:gd name="connsiteX2" fmla="*/ 536 w 163613"/>
                  <a:gd name="connsiteY2" fmla="*/ 340140 h 602585"/>
                  <a:gd name="connsiteX3" fmla="*/ 1829 w 163613"/>
                  <a:gd name="connsiteY3" fmla="*/ 328504 h 602585"/>
                  <a:gd name="connsiteX4" fmla="*/ 5709 w 163613"/>
                  <a:gd name="connsiteY4" fmla="*/ 319454 h 602585"/>
                  <a:gd name="connsiteX5" fmla="*/ 124691 w 163613"/>
                  <a:gd name="connsiteY5" fmla="*/ 18223 h 602585"/>
                  <a:gd name="connsiteX6" fmla="*/ 145384 w 163613"/>
                  <a:gd name="connsiteY6" fmla="*/ 123 h 602585"/>
                  <a:gd name="connsiteX7" fmla="*/ 163490 w 163613"/>
                  <a:gd name="connsiteY7" fmla="*/ 20809 h 602585"/>
                  <a:gd name="connsiteX8" fmla="*/ 40628 w 163613"/>
                  <a:gd name="connsiteY8" fmla="*/ 336261 h 602585"/>
                  <a:gd name="connsiteX9" fmla="*/ 39334 w 163613"/>
                  <a:gd name="connsiteY9" fmla="*/ 340140 h 602585"/>
                  <a:gd name="connsiteX10" fmla="*/ 80719 w 163613"/>
                  <a:gd name="connsiteY10" fmla="*/ 580608 h 602585"/>
                  <a:gd name="connsiteX11" fmla="*/ 65200 w 163613"/>
                  <a:gd name="connsiteY11" fmla="*/ 602586 h 602585"/>
                  <a:gd name="connsiteX12" fmla="*/ 62614 w 163613"/>
                  <a:gd name="connsiteY12" fmla="*/ 601293 h 60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613" h="602585">
                    <a:moveTo>
                      <a:pt x="62614" y="601293"/>
                    </a:moveTo>
                    <a:cubicBezTo>
                      <a:pt x="53561" y="601293"/>
                      <a:pt x="45801" y="594829"/>
                      <a:pt x="43215" y="585779"/>
                    </a:cubicBezTo>
                    <a:lnTo>
                      <a:pt x="536" y="340140"/>
                    </a:lnTo>
                    <a:cubicBezTo>
                      <a:pt x="-757" y="336261"/>
                      <a:pt x="536" y="332383"/>
                      <a:pt x="1829" y="328504"/>
                    </a:cubicBezTo>
                    <a:lnTo>
                      <a:pt x="5709" y="319454"/>
                    </a:lnTo>
                    <a:cubicBezTo>
                      <a:pt x="57440" y="208270"/>
                      <a:pt x="120812" y="71230"/>
                      <a:pt x="124691" y="18223"/>
                    </a:cubicBezTo>
                    <a:cubicBezTo>
                      <a:pt x="125984" y="7881"/>
                      <a:pt x="135038" y="-1169"/>
                      <a:pt x="145384" y="123"/>
                    </a:cubicBezTo>
                    <a:cubicBezTo>
                      <a:pt x="155730" y="1416"/>
                      <a:pt x="164783" y="10466"/>
                      <a:pt x="163490" y="20809"/>
                    </a:cubicBezTo>
                    <a:cubicBezTo>
                      <a:pt x="159610" y="81572"/>
                      <a:pt x="96239" y="216027"/>
                      <a:pt x="40628" y="336261"/>
                    </a:cubicBezTo>
                    <a:lnTo>
                      <a:pt x="39334" y="340140"/>
                    </a:lnTo>
                    <a:lnTo>
                      <a:pt x="80719" y="580608"/>
                    </a:lnTo>
                    <a:cubicBezTo>
                      <a:pt x="82013" y="590950"/>
                      <a:pt x="75547" y="601293"/>
                      <a:pt x="65200" y="602586"/>
                    </a:cubicBezTo>
                    <a:cubicBezTo>
                      <a:pt x="65200" y="601293"/>
                      <a:pt x="63907" y="601293"/>
                      <a:pt x="62614" y="601293"/>
                    </a:cubicBezTo>
                    <a:close/>
                  </a:path>
                </a:pathLst>
              </a:custGeom>
              <a:grpFill/>
              <a:ln w="12931" cap="flat">
                <a:noFill/>
                <a:prstDash val="solid"/>
                <a:miter/>
              </a:ln>
            </p:spPr>
            <p:txBody>
              <a:bodyPr rtlCol="0" anchor="ctr"/>
              <a:lstStyle/>
              <a:p>
                <a:endParaRPr lang="en-US"/>
              </a:p>
            </p:txBody>
          </p:sp>
          <p:sp>
            <p:nvSpPr>
              <p:cNvPr id="15" name="Freeform 56">
                <a:extLst>
                  <a:ext uri="{FF2B5EF4-FFF2-40B4-BE49-F238E27FC236}">
                    <a16:creationId xmlns:a16="http://schemas.microsoft.com/office/drawing/2014/main" id="{F3CC65E6-C313-F3C4-018E-CA90D2941FEC}"/>
                  </a:ext>
                </a:extLst>
              </p:cNvPr>
              <p:cNvSpPr/>
              <p:nvPr/>
            </p:nvSpPr>
            <p:spPr>
              <a:xfrm>
                <a:off x="9285004" y="2893887"/>
                <a:ext cx="193992" cy="790259"/>
              </a:xfrm>
              <a:custGeom>
                <a:avLst/>
                <a:gdLst>
                  <a:gd name="connsiteX0" fmla="*/ 19399 w 193992"/>
                  <a:gd name="connsiteY0" fmla="*/ 790259 h 790259"/>
                  <a:gd name="connsiteX1" fmla="*/ 0 w 193992"/>
                  <a:gd name="connsiteY1" fmla="*/ 770867 h 790259"/>
                  <a:gd name="connsiteX2" fmla="*/ 11640 w 193992"/>
                  <a:gd name="connsiteY2" fmla="*/ 620898 h 790259"/>
                  <a:gd name="connsiteX3" fmla="*/ 20693 w 193992"/>
                  <a:gd name="connsiteY3" fmla="*/ 543327 h 790259"/>
                  <a:gd name="connsiteX4" fmla="*/ 25866 w 193992"/>
                  <a:gd name="connsiteY4" fmla="*/ 306738 h 790259"/>
                  <a:gd name="connsiteX5" fmla="*/ 24573 w 193992"/>
                  <a:gd name="connsiteY5" fmla="*/ 267953 h 790259"/>
                  <a:gd name="connsiteX6" fmla="*/ 23279 w 193992"/>
                  <a:gd name="connsiteY6" fmla="*/ 183919 h 790259"/>
                  <a:gd name="connsiteX7" fmla="*/ 38799 w 193992"/>
                  <a:gd name="connsiteY7" fmla="*/ 48171 h 790259"/>
                  <a:gd name="connsiteX8" fmla="*/ 115103 w 193992"/>
                  <a:gd name="connsiteY8" fmla="*/ 1628 h 790259"/>
                  <a:gd name="connsiteX9" fmla="*/ 162955 w 193992"/>
                  <a:gd name="connsiteY9" fmla="*/ 71442 h 790259"/>
                  <a:gd name="connsiteX10" fmla="*/ 161661 w 193992"/>
                  <a:gd name="connsiteY10" fmla="*/ 177454 h 790259"/>
                  <a:gd name="connsiteX11" fmla="*/ 170714 w 193992"/>
                  <a:gd name="connsiteY11" fmla="*/ 256317 h 790259"/>
                  <a:gd name="connsiteX12" fmla="*/ 175887 w 193992"/>
                  <a:gd name="connsiteY12" fmla="*/ 296395 h 790259"/>
                  <a:gd name="connsiteX13" fmla="*/ 187526 w 193992"/>
                  <a:gd name="connsiteY13" fmla="*/ 419215 h 790259"/>
                  <a:gd name="connsiteX14" fmla="*/ 193993 w 193992"/>
                  <a:gd name="connsiteY14" fmla="*/ 543327 h 790259"/>
                  <a:gd name="connsiteX15" fmla="*/ 175887 w 193992"/>
                  <a:gd name="connsiteY15" fmla="*/ 564013 h 790259"/>
                  <a:gd name="connsiteX16" fmla="*/ 155194 w 193992"/>
                  <a:gd name="connsiteY16" fmla="*/ 545913 h 790259"/>
                  <a:gd name="connsiteX17" fmla="*/ 148728 w 193992"/>
                  <a:gd name="connsiteY17" fmla="*/ 423093 h 790259"/>
                  <a:gd name="connsiteX18" fmla="*/ 137089 w 193992"/>
                  <a:gd name="connsiteY18" fmla="*/ 301567 h 790259"/>
                  <a:gd name="connsiteX19" fmla="*/ 131915 w 193992"/>
                  <a:gd name="connsiteY19" fmla="*/ 261489 h 790259"/>
                  <a:gd name="connsiteX20" fmla="*/ 122862 w 193992"/>
                  <a:gd name="connsiteY20" fmla="*/ 181333 h 790259"/>
                  <a:gd name="connsiteX21" fmla="*/ 124156 w 193992"/>
                  <a:gd name="connsiteY21" fmla="*/ 66270 h 790259"/>
                  <a:gd name="connsiteX22" fmla="*/ 106050 w 193992"/>
                  <a:gd name="connsiteY22" fmla="*/ 37828 h 790259"/>
                  <a:gd name="connsiteX23" fmla="*/ 87943 w 193992"/>
                  <a:gd name="connsiteY23" fmla="*/ 40413 h 790259"/>
                  <a:gd name="connsiteX24" fmla="*/ 76304 w 193992"/>
                  <a:gd name="connsiteY24" fmla="*/ 55927 h 790259"/>
                  <a:gd name="connsiteX25" fmla="*/ 62078 w 193992"/>
                  <a:gd name="connsiteY25" fmla="*/ 182626 h 790259"/>
                  <a:gd name="connsiteX26" fmla="*/ 63371 w 193992"/>
                  <a:gd name="connsiteY26" fmla="*/ 265367 h 790259"/>
                  <a:gd name="connsiteX27" fmla="*/ 64664 w 193992"/>
                  <a:gd name="connsiteY27" fmla="*/ 304152 h 790259"/>
                  <a:gd name="connsiteX28" fmla="*/ 59492 w 193992"/>
                  <a:gd name="connsiteY28" fmla="*/ 543327 h 790259"/>
                  <a:gd name="connsiteX29" fmla="*/ 50438 w 193992"/>
                  <a:gd name="connsiteY29" fmla="*/ 624776 h 790259"/>
                  <a:gd name="connsiteX30" fmla="*/ 38799 w 193992"/>
                  <a:gd name="connsiteY30" fmla="*/ 768281 h 790259"/>
                  <a:gd name="connsiteX31" fmla="*/ 19399 w 193992"/>
                  <a:gd name="connsiteY31" fmla="*/ 790259 h 79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992" h="790259">
                    <a:moveTo>
                      <a:pt x="19399" y="790259"/>
                    </a:moveTo>
                    <a:cubicBezTo>
                      <a:pt x="9053" y="790259"/>
                      <a:pt x="0" y="781209"/>
                      <a:pt x="0" y="770867"/>
                    </a:cubicBezTo>
                    <a:cubicBezTo>
                      <a:pt x="0" y="697175"/>
                      <a:pt x="6466" y="658390"/>
                      <a:pt x="11640" y="620898"/>
                    </a:cubicBezTo>
                    <a:cubicBezTo>
                      <a:pt x="15520" y="597627"/>
                      <a:pt x="18106" y="574355"/>
                      <a:pt x="20693" y="543327"/>
                    </a:cubicBezTo>
                    <a:cubicBezTo>
                      <a:pt x="25866" y="461879"/>
                      <a:pt x="27159" y="384308"/>
                      <a:pt x="25866" y="306738"/>
                    </a:cubicBezTo>
                    <a:cubicBezTo>
                      <a:pt x="25866" y="293810"/>
                      <a:pt x="25866" y="280881"/>
                      <a:pt x="24573" y="267953"/>
                    </a:cubicBezTo>
                    <a:cubicBezTo>
                      <a:pt x="24573" y="240803"/>
                      <a:pt x="23279" y="212361"/>
                      <a:pt x="23279" y="183919"/>
                    </a:cubicBezTo>
                    <a:cubicBezTo>
                      <a:pt x="23279" y="134791"/>
                      <a:pt x="28452" y="89541"/>
                      <a:pt x="38799" y="48171"/>
                    </a:cubicBezTo>
                    <a:cubicBezTo>
                      <a:pt x="46559" y="14557"/>
                      <a:pt x="81477" y="-6129"/>
                      <a:pt x="115103" y="1628"/>
                    </a:cubicBezTo>
                    <a:cubicBezTo>
                      <a:pt x="146141" y="9385"/>
                      <a:pt x="166834" y="39121"/>
                      <a:pt x="162955" y="71442"/>
                    </a:cubicBezTo>
                    <a:cubicBezTo>
                      <a:pt x="157781" y="105055"/>
                      <a:pt x="157781" y="138669"/>
                      <a:pt x="161661" y="177454"/>
                    </a:cubicBezTo>
                    <a:cubicBezTo>
                      <a:pt x="164247" y="203311"/>
                      <a:pt x="166834" y="229168"/>
                      <a:pt x="170714" y="256317"/>
                    </a:cubicBezTo>
                    <a:cubicBezTo>
                      <a:pt x="172007" y="269246"/>
                      <a:pt x="173301" y="283467"/>
                      <a:pt x="175887" y="296395"/>
                    </a:cubicBezTo>
                    <a:cubicBezTo>
                      <a:pt x="181060" y="337766"/>
                      <a:pt x="184940" y="379137"/>
                      <a:pt x="187526" y="419215"/>
                    </a:cubicBezTo>
                    <a:cubicBezTo>
                      <a:pt x="191406" y="461879"/>
                      <a:pt x="192700" y="505835"/>
                      <a:pt x="193993" y="543327"/>
                    </a:cubicBezTo>
                    <a:cubicBezTo>
                      <a:pt x="193993" y="553670"/>
                      <a:pt x="186234" y="562720"/>
                      <a:pt x="175887" y="564013"/>
                    </a:cubicBezTo>
                    <a:cubicBezTo>
                      <a:pt x="165540" y="564013"/>
                      <a:pt x="156488" y="556256"/>
                      <a:pt x="155194" y="545913"/>
                    </a:cubicBezTo>
                    <a:cubicBezTo>
                      <a:pt x="153901" y="508421"/>
                      <a:pt x="151315" y="465757"/>
                      <a:pt x="148728" y="423093"/>
                    </a:cubicBezTo>
                    <a:cubicBezTo>
                      <a:pt x="146141" y="383015"/>
                      <a:pt x="142261" y="341645"/>
                      <a:pt x="137089" y="301567"/>
                    </a:cubicBezTo>
                    <a:cubicBezTo>
                      <a:pt x="135795" y="288638"/>
                      <a:pt x="134502" y="274417"/>
                      <a:pt x="131915" y="261489"/>
                    </a:cubicBezTo>
                    <a:cubicBezTo>
                      <a:pt x="128036" y="234339"/>
                      <a:pt x="125449" y="207190"/>
                      <a:pt x="122862" y="181333"/>
                    </a:cubicBezTo>
                    <a:cubicBezTo>
                      <a:pt x="118982" y="138669"/>
                      <a:pt x="118982" y="102470"/>
                      <a:pt x="124156" y="66270"/>
                    </a:cubicBezTo>
                    <a:cubicBezTo>
                      <a:pt x="125449" y="53342"/>
                      <a:pt x="117690" y="41706"/>
                      <a:pt x="106050" y="37828"/>
                    </a:cubicBezTo>
                    <a:cubicBezTo>
                      <a:pt x="99583" y="36535"/>
                      <a:pt x="93117" y="37828"/>
                      <a:pt x="87943" y="40413"/>
                    </a:cubicBezTo>
                    <a:cubicBezTo>
                      <a:pt x="82771" y="44292"/>
                      <a:pt x="78891" y="49463"/>
                      <a:pt x="76304" y="55927"/>
                    </a:cubicBezTo>
                    <a:cubicBezTo>
                      <a:pt x="67251" y="93420"/>
                      <a:pt x="62078" y="136084"/>
                      <a:pt x="62078" y="182626"/>
                    </a:cubicBezTo>
                    <a:cubicBezTo>
                      <a:pt x="62078" y="211068"/>
                      <a:pt x="62078" y="238218"/>
                      <a:pt x="63371" y="265367"/>
                    </a:cubicBezTo>
                    <a:cubicBezTo>
                      <a:pt x="63371" y="278296"/>
                      <a:pt x="63371" y="291224"/>
                      <a:pt x="64664" y="304152"/>
                    </a:cubicBezTo>
                    <a:cubicBezTo>
                      <a:pt x="65958" y="383015"/>
                      <a:pt x="64664" y="460586"/>
                      <a:pt x="59492" y="543327"/>
                    </a:cubicBezTo>
                    <a:cubicBezTo>
                      <a:pt x="56905" y="576941"/>
                      <a:pt x="54318" y="601505"/>
                      <a:pt x="50438" y="624776"/>
                    </a:cubicBezTo>
                    <a:cubicBezTo>
                      <a:pt x="45265" y="660976"/>
                      <a:pt x="38799" y="698468"/>
                      <a:pt x="38799" y="768281"/>
                    </a:cubicBezTo>
                    <a:cubicBezTo>
                      <a:pt x="38799" y="782502"/>
                      <a:pt x="29745" y="790259"/>
                      <a:pt x="19399" y="790259"/>
                    </a:cubicBezTo>
                    <a:close/>
                  </a:path>
                </a:pathLst>
              </a:custGeom>
              <a:grpFill/>
              <a:ln w="12931" cap="flat">
                <a:noFill/>
                <a:prstDash val="solid"/>
                <a:miter/>
              </a:ln>
            </p:spPr>
            <p:txBody>
              <a:bodyPr rtlCol="0" anchor="ctr"/>
              <a:lstStyle/>
              <a:p>
                <a:endParaRPr lang="en-US"/>
              </a:p>
            </p:txBody>
          </p:sp>
        </p:grpSp>
      </p:grpSp>
      <p:pic>
        <p:nvPicPr>
          <p:cNvPr id="2" name="Picture Placeholder 17" descr="Close up of heart shaped pages of a book">
            <a:extLst>
              <a:ext uri="{FF2B5EF4-FFF2-40B4-BE49-F238E27FC236}">
                <a16:creationId xmlns:a16="http://schemas.microsoft.com/office/drawing/2014/main" id="{87E45553-6F43-C173-A47D-A6C3BBF4B05D}"/>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1408" r="21408"/>
          <a:stretch/>
        </p:blipFill>
        <p:spPr>
          <a:xfrm>
            <a:off x="0" y="0"/>
            <a:ext cx="5875338" cy="6858000"/>
          </a:xfrm>
        </p:spPr>
      </p:pic>
    </p:spTree>
    <p:extLst>
      <p:ext uri="{BB962C8B-B14F-4D97-AF65-F5344CB8AC3E}">
        <p14:creationId xmlns:p14="http://schemas.microsoft.com/office/powerpoint/2010/main" val="27972780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2D2137-15CC-6C4B-441B-C70CF7EB59CB}"/>
              </a:ext>
            </a:extLst>
          </p:cNvPr>
          <p:cNvGraphicFramePr>
            <a:graphicFrameLocks noChangeAspect="1"/>
          </p:cNvGraphicFramePr>
          <p:nvPr>
            <p:custDataLst>
              <p:tags r:id="rId1"/>
            </p:custDataLst>
            <p:extLst>
              <p:ext uri="{D42A27DB-BD31-4B8C-83A1-F6EECF244321}">
                <p14:modId xmlns:p14="http://schemas.microsoft.com/office/powerpoint/2010/main" val="1521771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Thumbprint heart">
            <a:extLst>
              <a:ext uri="{FF2B5EF4-FFF2-40B4-BE49-F238E27FC236}">
                <a16:creationId xmlns:a16="http://schemas.microsoft.com/office/drawing/2014/main" id="{6A609A7E-056B-5D30-91DC-D6748F2C4F1F}"/>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43" b="6843"/>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US" b="1" dirty="0"/>
              <a:t>SOZIALE VERANTWORTUNG </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5</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449755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014BC5-E729-0D33-3043-9ABAE2B60C35}"/>
              </a:ext>
            </a:extLst>
          </p:cNvPr>
          <p:cNvGraphicFramePr>
            <a:graphicFrameLocks noChangeAspect="1"/>
          </p:cNvGraphicFramePr>
          <p:nvPr>
            <p:custDataLst>
              <p:tags r:id="rId1"/>
            </p:custDataLst>
            <p:extLst>
              <p:ext uri="{D42A27DB-BD31-4B8C-83A1-F6EECF244321}">
                <p14:modId xmlns:p14="http://schemas.microsoft.com/office/powerpoint/2010/main" val="1665482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5" descr="Colorful overlapping people icons">
            <a:extLst>
              <a:ext uri="{FF2B5EF4-FFF2-40B4-BE49-F238E27FC236}">
                <a16:creationId xmlns:a16="http://schemas.microsoft.com/office/drawing/2014/main" id="{FD5217B2-E2F0-5ED3-A608-B653FB3524F8}"/>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725" r="25725"/>
          <a:stretch>
            <a:fillRect/>
          </a:stretch>
        </p:blipFill>
        <p:spPr>
          <a:xfrm>
            <a:off x="884238" y="0"/>
            <a:ext cx="4994275" cy="6858000"/>
          </a:xfrm>
        </p:spPr>
      </p:pic>
      <p:sp>
        <p:nvSpPr>
          <p:cNvPr id="3" name="Text Placeholder 2">
            <a:extLst>
              <a:ext uri="{FF2B5EF4-FFF2-40B4-BE49-F238E27FC236}">
                <a16:creationId xmlns:a16="http://schemas.microsoft.com/office/drawing/2014/main" id="{141D1BF4-C7CE-8013-C509-BCA028B0B555}"/>
              </a:ext>
            </a:extLst>
          </p:cNvPr>
          <p:cNvSpPr>
            <a:spLocks noGrp="1"/>
          </p:cNvSpPr>
          <p:nvPr>
            <p:ph type="body" sz="quarter" idx="30"/>
          </p:nvPr>
        </p:nvSpPr>
        <p:spPr/>
        <p:txBody>
          <a:bodyPr/>
          <a:lstStyle/>
          <a:p>
            <a:r>
              <a:rPr lang="en-IE" dirty="0"/>
              <a:t>Einführung</a:t>
            </a:r>
          </a:p>
        </p:txBody>
      </p:sp>
      <p:sp>
        <p:nvSpPr>
          <p:cNvPr id="4" name="Text Placeholder 3">
            <a:extLst>
              <a:ext uri="{FF2B5EF4-FFF2-40B4-BE49-F238E27FC236}">
                <a16:creationId xmlns:a16="http://schemas.microsoft.com/office/drawing/2014/main" id="{FF3C6E5D-B43B-2E8E-CACF-8A18D376B2D9}"/>
              </a:ext>
            </a:extLst>
          </p:cNvPr>
          <p:cNvSpPr>
            <a:spLocks noGrp="1"/>
          </p:cNvSpPr>
          <p:nvPr>
            <p:ph type="body" sz="quarter" idx="48"/>
          </p:nvPr>
        </p:nvSpPr>
        <p:spPr>
          <a:xfrm>
            <a:off x="6367723" y="1813913"/>
            <a:ext cx="5067089" cy="3889855"/>
          </a:xfrm>
        </p:spPr>
        <p:txBody>
          <a:bodyPr/>
          <a:lstStyle/>
          <a:p>
            <a:pPr algn="just">
              <a:spcAft>
                <a:spcPts val="600"/>
              </a:spcAft>
            </a:pPr>
            <a:r>
              <a:rPr lang="en-GB" sz="2000" dirty="0"/>
              <a:t>Dieser Abschnitt zielt darauf ab, die Lernenden in die Lage zu versetzen, soziale Verantwortung und Transparenz in die Geschäftspraktiken zu integrieren und sich dabei an den wichtigsten Zielen für nachhaltige Entwicklung (SDGs) zu orientieren. </a:t>
            </a:r>
          </a:p>
          <a:p>
            <a:pPr algn="just">
              <a:spcAft>
                <a:spcPts val="600"/>
              </a:spcAft>
            </a:pPr>
            <a:r>
              <a:rPr lang="en-GB" sz="2000" dirty="0"/>
              <a:t>Die Teilnehmer werden sich mit den Konzepten der sozialen Verantwortung und der Transparenz auseinandersetzen, ihre ethischen Implikationen verstehen und ihre Rolle bei der Schaffung positiver gesellschaftlicher Auswirkungen durch die Unternehmenstätigkeit erkennen.</a:t>
            </a:r>
            <a:endParaRPr lang="en-IE" sz="2000" dirty="0"/>
          </a:p>
        </p:txBody>
      </p:sp>
    </p:spTree>
    <p:extLst>
      <p:ext uri="{BB962C8B-B14F-4D97-AF65-F5344CB8AC3E}">
        <p14:creationId xmlns:p14="http://schemas.microsoft.com/office/powerpoint/2010/main" val="20924043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AE77941-4B0E-890B-375E-E6C16A6C61F3}"/>
              </a:ext>
            </a:extLst>
          </p:cNvPr>
          <p:cNvSpPr>
            <a:spLocks noGrp="1"/>
          </p:cNvSpPr>
          <p:nvPr>
            <p:ph type="body" sz="quarter" idx="30"/>
          </p:nvPr>
        </p:nvSpPr>
        <p:spPr>
          <a:xfrm>
            <a:off x="5028054" y="256506"/>
            <a:ext cx="7311533" cy="845139"/>
          </a:xfrm>
        </p:spPr>
        <p:txBody>
          <a:bodyPr/>
          <a:lstStyle/>
          <a:p>
            <a:r>
              <a:rPr lang="en-IE" dirty="0"/>
              <a:t>Soziale Verantwortung verstehen </a:t>
            </a:r>
          </a:p>
          <a:p>
            <a:endParaRPr lang="en-IE" dirty="0"/>
          </a:p>
        </p:txBody>
      </p:sp>
      <p:sp>
        <p:nvSpPr>
          <p:cNvPr id="4" name="Text Placeholder 3">
            <a:extLst>
              <a:ext uri="{FF2B5EF4-FFF2-40B4-BE49-F238E27FC236}">
                <a16:creationId xmlns:a16="http://schemas.microsoft.com/office/drawing/2014/main" id="{C5B738FE-62A5-544E-DDF0-39FFE09CC30C}"/>
              </a:ext>
            </a:extLst>
          </p:cNvPr>
          <p:cNvSpPr>
            <a:spLocks noGrp="1"/>
          </p:cNvSpPr>
          <p:nvPr>
            <p:ph type="body" sz="quarter" idx="48"/>
          </p:nvPr>
        </p:nvSpPr>
        <p:spPr>
          <a:xfrm>
            <a:off x="5028054" y="992643"/>
            <a:ext cx="6695517" cy="3466570"/>
          </a:xfrm>
        </p:spPr>
        <p:txBody>
          <a:bodyPr/>
          <a:lstStyle/>
          <a:p>
            <a:pPr algn="just">
              <a:spcAft>
                <a:spcPts val="600"/>
              </a:spcAft>
            </a:pPr>
            <a:r>
              <a:rPr lang="en-GB" sz="2000" dirty="0"/>
              <a:t>Soziale Verantwortung geht über die Gewinnerzielung hinaus und umfasst die </a:t>
            </a:r>
            <a:r>
              <a:rPr lang="en-GB" sz="2000" b="1" dirty="0"/>
              <a:t>ethische Verpflichtung </a:t>
            </a:r>
            <a:r>
              <a:rPr lang="en-GB" sz="2000" dirty="0"/>
              <a:t>eines </a:t>
            </a:r>
            <a:r>
              <a:rPr lang="en-GB" sz="2000" b="1" dirty="0"/>
              <a:t>Unternehmens, das gesellschaftliche Wohlergehen zu fördern</a:t>
            </a:r>
            <a:r>
              <a:rPr lang="en-GB" sz="2000" dirty="0"/>
              <a:t>. Dazu gehören die Förderung fairer Arbeitspraktiken, ökologische Nachhaltigkeit und die Entwicklung der Gemeinschaft. </a:t>
            </a:r>
          </a:p>
          <a:p>
            <a:pPr algn="just">
              <a:spcAft>
                <a:spcPts val="600"/>
              </a:spcAft>
            </a:pPr>
            <a:r>
              <a:rPr lang="en-GB" sz="2000" dirty="0"/>
              <a:t>Wenn sich Unternehmen auf diese Werte konzentrieren, schaffen sie Vertrauen bei ihren Stakeholdern, Kunden, Investoren, Mitarbeitern und der breiteren Öffentlichkeit und tragen gleichzeitig zu einer besseren Welt bei.</a:t>
            </a:r>
          </a:p>
          <a:p>
            <a:pPr algn="just">
              <a:spcAft>
                <a:spcPts val="600"/>
              </a:spcAft>
            </a:pPr>
            <a:r>
              <a:rPr lang="en-GB" sz="2000" dirty="0"/>
              <a:t>Unternehmen spielen eine entscheidende Rolle bei der Bewältigung sozialer Fragen wie faire Arbeitsbedingungen, Menschenrechte und Gemeinwohl. Dazu gehört die Gewährleistung von sicheren Arbeitsplätzen, fairen Löhnen und Chancengleichheit in allen Betrieben und Lieferketten. Die Achtung der Menschenrechte bedeutet, dass alle Beteiligten mit Würde und Fairness behandelt werden.</a:t>
            </a:r>
            <a:endParaRPr lang="en-IE" sz="2000" dirty="0"/>
          </a:p>
          <a:p>
            <a:pPr>
              <a:spcAft>
                <a:spcPts val="600"/>
              </a:spcAft>
            </a:pPr>
            <a:endParaRPr lang="en-IE" sz="2000" dirty="0"/>
          </a:p>
        </p:txBody>
      </p:sp>
      <p:pic>
        <p:nvPicPr>
          <p:cNvPr id="2" name="Picture Placeholder 5" descr="3D rendering of a shape hole toy with square, triangle, and circle shapes">
            <a:extLst>
              <a:ext uri="{FF2B5EF4-FFF2-40B4-BE49-F238E27FC236}">
                <a16:creationId xmlns:a16="http://schemas.microsoft.com/office/drawing/2014/main" id="{621F6F40-E2B4-EE0C-A100-2645168ACB87}"/>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4768" r="24768"/>
          <a:stretch/>
        </p:blipFill>
        <p:spPr>
          <a:xfrm>
            <a:off x="0" y="0"/>
            <a:ext cx="4614863" cy="6858000"/>
          </a:xfrm>
        </p:spPr>
      </p:pic>
    </p:spTree>
    <p:extLst>
      <p:ext uri="{BB962C8B-B14F-4D97-AF65-F5344CB8AC3E}">
        <p14:creationId xmlns:p14="http://schemas.microsoft.com/office/powerpoint/2010/main" val="31809446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AE77941-4B0E-890B-375E-E6C16A6C61F3}"/>
              </a:ext>
            </a:extLst>
          </p:cNvPr>
          <p:cNvSpPr>
            <a:spLocks noGrp="1"/>
          </p:cNvSpPr>
          <p:nvPr>
            <p:ph type="body" sz="quarter" idx="30"/>
          </p:nvPr>
        </p:nvSpPr>
        <p:spPr>
          <a:xfrm>
            <a:off x="4880467" y="256506"/>
            <a:ext cx="7311533" cy="845139"/>
          </a:xfrm>
        </p:spPr>
        <p:txBody>
          <a:bodyPr/>
          <a:lstStyle/>
          <a:p>
            <a:r>
              <a:rPr lang="en-IE" dirty="0"/>
              <a:t>Transparenz im Geschäftsbetrieb</a:t>
            </a:r>
          </a:p>
          <a:p>
            <a:endParaRPr lang="en-IE" dirty="0"/>
          </a:p>
        </p:txBody>
      </p:sp>
      <p:sp>
        <p:nvSpPr>
          <p:cNvPr id="4" name="Text Placeholder 3">
            <a:extLst>
              <a:ext uri="{FF2B5EF4-FFF2-40B4-BE49-F238E27FC236}">
                <a16:creationId xmlns:a16="http://schemas.microsoft.com/office/drawing/2014/main" id="{C5B738FE-62A5-544E-DDF0-39FFE09CC30C}"/>
              </a:ext>
            </a:extLst>
          </p:cNvPr>
          <p:cNvSpPr>
            <a:spLocks noGrp="1"/>
          </p:cNvSpPr>
          <p:nvPr>
            <p:ph type="body" sz="quarter" idx="48"/>
          </p:nvPr>
        </p:nvSpPr>
        <p:spPr>
          <a:xfrm>
            <a:off x="5028054" y="992643"/>
            <a:ext cx="6695517" cy="3466570"/>
          </a:xfrm>
        </p:spPr>
        <p:txBody>
          <a:bodyPr/>
          <a:lstStyle/>
          <a:p>
            <a:pPr algn="just">
              <a:spcAft>
                <a:spcPts val="600"/>
              </a:spcAft>
            </a:pPr>
            <a:r>
              <a:rPr lang="en-US" sz="2000" dirty="0"/>
              <a:t>Transparenz schafft Vertrauen und bindet die Beteiligten wirksam ein. </a:t>
            </a:r>
            <a:r>
              <a:rPr lang="en-US" sz="2000" b="1" dirty="0"/>
              <a:t>Eine offene Kommunikation </a:t>
            </a:r>
            <a:r>
              <a:rPr lang="en-US" sz="2000" dirty="0"/>
              <a:t>verbessert den Ruf des Unternehmens und hilft beim Risikomanagement. Indem sie Informationen über ihre Praktiken, Leistungen und Entscheidungen weitergeben, demonstrieren Unternehmen Verantwortlichkeit und Integrität, was für die Aufrechterhaltung positiver Beziehungen entscheidend ist.</a:t>
            </a:r>
          </a:p>
          <a:p>
            <a:pPr algn="just">
              <a:spcAft>
                <a:spcPts val="600"/>
              </a:spcAft>
            </a:pPr>
            <a:r>
              <a:rPr lang="en-US" sz="2000" b="1" dirty="0"/>
              <a:t>Die Einbindung der Stakeholder </a:t>
            </a:r>
            <a:r>
              <a:rPr lang="en-US" sz="2000" dirty="0"/>
              <a:t>durch eine transparente Kommunikation beinhaltet regelmäßige Aktualisierungen von Strategien, Praktiken und Leistungskennzahlen, einschließlich der sozialen und ökologischen Auswirkungen.</a:t>
            </a:r>
          </a:p>
          <a:p>
            <a:pPr algn="just">
              <a:spcAft>
                <a:spcPts val="600"/>
              </a:spcAft>
            </a:pPr>
            <a:r>
              <a:rPr lang="en-US" sz="2000" dirty="0"/>
              <a:t>Plattformen wie Nachhaltigkeitsberichte, Bürgerversammlungen und digitale Kanäle erleichtern einen sinnvollen Dialog und Feedback. </a:t>
            </a:r>
          </a:p>
          <a:p>
            <a:pPr>
              <a:spcAft>
                <a:spcPts val="600"/>
              </a:spcAft>
            </a:pPr>
            <a:endParaRPr lang="en-IE" sz="2000" dirty="0"/>
          </a:p>
        </p:txBody>
      </p:sp>
      <p:sp>
        <p:nvSpPr>
          <p:cNvPr id="5" name="Bildplatzhalter 4">
            <a:extLst>
              <a:ext uri="{FF2B5EF4-FFF2-40B4-BE49-F238E27FC236}">
                <a16:creationId xmlns:a16="http://schemas.microsoft.com/office/drawing/2014/main" id="{D9D0405E-F9BB-563D-B7BD-BC66D50D254B}"/>
              </a:ext>
            </a:extLst>
          </p:cNvPr>
          <p:cNvSpPr>
            <a:spLocks noGrp="1"/>
          </p:cNvSpPr>
          <p:nvPr>
            <p:ph type="pic" sz="quarter" idx="21"/>
          </p:nvPr>
        </p:nvSpPr>
        <p:spPr/>
        <p:txBody>
          <a:bodyPr/>
          <a:lstStyle/>
          <a:p>
            <a:endParaRPr lang="de-DE"/>
          </a:p>
        </p:txBody>
      </p:sp>
      <p:pic>
        <p:nvPicPr>
          <p:cNvPr id="2" name="Picture Placeholder 5" descr="Retro microphone">
            <a:extLst>
              <a:ext uri="{FF2B5EF4-FFF2-40B4-BE49-F238E27FC236}">
                <a16:creationId xmlns:a16="http://schemas.microsoft.com/office/drawing/2014/main" id="{10C4FB68-BAE9-BC3E-408E-FB3D8BB5E88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53655" r="1493"/>
          <a:stretch/>
        </p:blipFill>
        <p:spPr>
          <a:xfrm>
            <a:off x="0" y="0"/>
            <a:ext cx="4614863"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pic>
    </p:spTree>
    <p:extLst>
      <p:ext uri="{BB962C8B-B14F-4D97-AF65-F5344CB8AC3E}">
        <p14:creationId xmlns:p14="http://schemas.microsoft.com/office/powerpoint/2010/main" val="23781226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AE77941-4B0E-890B-375E-E6C16A6C61F3}"/>
              </a:ext>
            </a:extLst>
          </p:cNvPr>
          <p:cNvSpPr>
            <a:spLocks noGrp="1"/>
          </p:cNvSpPr>
          <p:nvPr>
            <p:ph type="body" sz="quarter" idx="30"/>
          </p:nvPr>
        </p:nvSpPr>
        <p:spPr>
          <a:xfrm>
            <a:off x="4880467" y="269256"/>
            <a:ext cx="7311533" cy="845139"/>
          </a:xfrm>
        </p:spPr>
        <p:txBody>
          <a:bodyPr/>
          <a:lstStyle/>
          <a:p>
            <a:r>
              <a:rPr lang="en-IE" dirty="0"/>
              <a:t>Strategien zur Integration der sozialen Verantwortung</a:t>
            </a:r>
          </a:p>
          <a:p>
            <a:endParaRPr lang="en-IE" dirty="0"/>
          </a:p>
        </p:txBody>
      </p:sp>
      <p:sp>
        <p:nvSpPr>
          <p:cNvPr id="4" name="Text Placeholder 3">
            <a:extLst>
              <a:ext uri="{FF2B5EF4-FFF2-40B4-BE49-F238E27FC236}">
                <a16:creationId xmlns:a16="http://schemas.microsoft.com/office/drawing/2014/main" id="{C5B738FE-62A5-544E-DDF0-39FFE09CC30C}"/>
              </a:ext>
            </a:extLst>
          </p:cNvPr>
          <p:cNvSpPr>
            <a:spLocks noGrp="1"/>
          </p:cNvSpPr>
          <p:nvPr>
            <p:ph type="body" sz="quarter" idx="48"/>
          </p:nvPr>
        </p:nvSpPr>
        <p:spPr>
          <a:xfrm>
            <a:off x="5028054" y="1695715"/>
            <a:ext cx="6560763" cy="3466570"/>
          </a:xfrm>
        </p:spPr>
        <p:txBody>
          <a:bodyPr/>
          <a:lstStyle/>
          <a:p>
            <a:pPr algn="just">
              <a:spcAft>
                <a:spcPts val="600"/>
              </a:spcAft>
            </a:pPr>
            <a:r>
              <a:rPr lang="en-US" sz="2000" dirty="0"/>
              <a:t>Die Einbeziehung der sozialen Verantwortung in die Unternehmensstrategie bedeutet, </a:t>
            </a:r>
            <a:r>
              <a:rPr lang="en-US" sz="2000" b="1" dirty="0"/>
              <a:t>die Unternehmensziele mit den gesellschaftlichen Bedürfnissen und der ökologischen Nachhaltigkeit in Einklang zu bringen</a:t>
            </a:r>
            <a:r>
              <a:rPr lang="en-US" sz="2000" dirty="0"/>
              <a:t>. </a:t>
            </a:r>
          </a:p>
          <a:p>
            <a:pPr algn="just">
              <a:spcAft>
                <a:spcPts val="600"/>
              </a:spcAft>
            </a:pPr>
            <a:r>
              <a:rPr lang="en-US" sz="2000" dirty="0"/>
              <a:t>Dieser Ansatz schafft wirtschaftlichen Wert und geht gleichzeitig auf soziale und ökologische Herausforderungen ein, um langfristige Nachhaltigkeit und Wettbewerbsfähigkeit zu gewährleisten.</a:t>
            </a:r>
          </a:p>
          <a:p>
            <a:pPr algn="just">
              <a:spcAft>
                <a:spcPts val="600"/>
              </a:spcAft>
            </a:pPr>
            <a:r>
              <a:rPr lang="en-US" sz="2000" b="1" dirty="0"/>
              <a:t>Unternehmen können innovativ sein und mit Interessengruppen zusammenarbeiten, um Lösungen zu entwickeln, die sowohl für das Unternehmen als auch für die Gesellschaft von Nutzen sind</a:t>
            </a:r>
            <a:r>
              <a:rPr lang="en-US" sz="2000" dirty="0"/>
              <a:t>. </a:t>
            </a:r>
          </a:p>
          <a:p>
            <a:pPr>
              <a:spcAft>
                <a:spcPts val="600"/>
              </a:spcAft>
            </a:pPr>
            <a:endParaRPr lang="en-IE" sz="2000" dirty="0"/>
          </a:p>
        </p:txBody>
      </p:sp>
      <p:pic>
        <p:nvPicPr>
          <p:cNvPr id="8" name="Picture Placeholder 5" descr="A person reaching for a paper on a table full of paper and sticky notes">
            <a:extLst>
              <a:ext uri="{FF2B5EF4-FFF2-40B4-BE49-F238E27FC236}">
                <a16:creationId xmlns:a16="http://schemas.microsoft.com/office/drawing/2014/main" id="{738BB91E-5C88-F792-FF90-3DDC650E9F93}"/>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7546" r="27546"/>
          <a:stretch/>
        </p:blipFill>
        <p:spPr>
          <a:xfrm>
            <a:off x="0" y="0"/>
            <a:ext cx="4614863" cy="6858000"/>
          </a:xfrm>
        </p:spPr>
      </p:pic>
    </p:spTree>
    <p:extLst>
      <p:ext uri="{BB962C8B-B14F-4D97-AF65-F5344CB8AC3E}">
        <p14:creationId xmlns:p14="http://schemas.microsoft.com/office/powerpoint/2010/main" val="19068540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A4A2FE-027E-EA68-2402-6F51851356F2}"/>
              </a:ext>
            </a:extLst>
          </p:cNvPr>
          <p:cNvSpPr>
            <a:spLocks noGrp="1"/>
          </p:cNvSpPr>
          <p:nvPr>
            <p:ph type="body" sz="quarter" idx="49"/>
          </p:nvPr>
        </p:nvSpPr>
        <p:spPr>
          <a:xfrm>
            <a:off x="3582472" y="224833"/>
            <a:ext cx="7160276" cy="730066"/>
          </a:xfrm>
        </p:spPr>
        <p:txBody>
          <a:bodyPr/>
          <a:lstStyle/>
          <a:p>
            <a:r>
              <a:rPr lang="en-IE" sz="3000" dirty="0"/>
              <a:t>Nachhaltige Beschaffung</a:t>
            </a:r>
          </a:p>
        </p:txBody>
      </p:sp>
      <p:sp>
        <p:nvSpPr>
          <p:cNvPr id="3" name="Text Placeholder 2">
            <a:extLst>
              <a:ext uri="{FF2B5EF4-FFF2-40B4-BE49-F238E27FC236}">
                <a16:creationId xmlns:a16="http://schemas.microsoft.com/office/drawing/2014/main" id="{88D2704B-DE22-4722-6A36-5D97D8B9B872}"/>
              </a:ext>
            </a:extLst>
          </p:cNvPr>
          <p:cNvSpPr>
            <a:spLocks noGrp="1"/>
          </p:cNvSpPr>
          <p:nvPr>
            <p:ph type="body" sz="quarter" idx="50"/>
          </p:nvPr>
        </p:nvSpPr>
        <p:spPr>
          <a:xfrm>
            <a:off x="3594653" y="656492"/>
            <a:ext cx="7739202" cy="1017803"/>
          </a:xfrm>
        </p:spPr>
        <p:txBody>
          <a:bodyPr/>
          <a:lstStyle/>
          <a:p>
            <a:r>
              <a:rPr lang="en-GB" sz="2000" dirty="0"/>
              <a:t>Die Implementierung von Nachhaltigkeitskriterien in die Beschaffungsprozesse gewährleistet eine ethische Beschaffung, reduziert die Umweltauswirkungen und unterstützt lokale Gemeinschaften. Dazu gehört die Auswahl von Lieferanten, die sich zu fairen Arbeitspraktiken, Menschenrechtsstandards und ökologischer Nachhaltigkeit verpflichten. </a:t>
            </a:r>
            <a:endParaRPr lang="en-IE" sz="2000" dirty="0"/>
          </a:p>
        </p:txBody>
      </p:sp>
      <p:sp>
        <p:nvSpPr>
          <p:cNvPr id="4" name="Text Placeholder 3">
            <a:extLst>
              <a:ext uri="{FF2B5EF4-FFF2-40B4-BE49-F238E27FC236}">
                <a16:creationId xmlns:a16="http://schemas.microsoft.com/office/drawing/2014/main" id="{F29532C3-6E6F-DE57-8548-B28B8A9AA1BC}"/>
              </a:ext>
            </a:extLst>
          </p:cNvPr>
          <p:cNvSpPr>
            <a:spLocks noGrp="1"/>
          </p:cNvSpPr>
          <p:nvPr>
            <p:ph type="body" sz="quarter" idx="51"/>
          </p:nvPr>
        </p:nvSpPr>
        <p:spPr>
          <a:xfrm>
            <a:off x="3582472" y="2207827"/>
            <a:ext cx="7160276" cy="730066"/>
          </a:xfrm>
        </p:spPr>
        <p:txBody>
          <a:bodyPr/>
          <a:lstStyle/>
          <a:p>
            <a:r>
              <a:rPr lang="en-IE" sz="3000" dirty="0"/>
              <a:t>Verantwortungsvolles Marketing</a:t>
            </a:r>
          </a:p>
        </p:txBody>
      </p:sp>
      <p:sp>
        <p:nvSpPr>
          <p:cNvPr id="5" name="Text Placeholder 4">
            <a:extLst>
              <a:ext uri="{FF2B5EF4-FFF2-40B4-BE49-F238E27FC236}">
                <a16:creationId xmlns:a16="http://schemas.microsoft.com/office/drawing/2014/main" id="{BA22660C-39F9-5A75-B148-0C02564A627D}"/>
              </a:ext>
            </a:extLst>
          </p:cNvPr>
          <p:cNvSpPr>
            <a:spLocks noGrp="1"/>
          </p:cNvSpPr>
          <p:nvPr>
            <p:ph type="body" sz="quarter" idx="52"/>
          </p:nvPr>
        </p:nvSpPr>
        <p:spPr>
          <a:xfrm>
            <a:off x="3594652" y="2695235"/>
            <a:ext cx="8446551" cy="945874"/>
          </a:xfrm>
        </p:spPr>
        <p:txBody>
          <a:bodyPr/>
          <a:lstStyle/>
          <a:p>
            <a:r>
              <a:rPr lang="en-GB" sz="2000" dirty="0"/>
              <a:t>Verantwortungsvolle Marketingpraktiken sind entscheidend für die Förderung von Transparenz und den Aufbau von Vertrauen bei den Verbrauchern. Dieser Ansatz beinhaltet die Bereitstellung genauer Informationen über Produkte und Geschäftspraktiken und stellt sicher, dass die Marketingbotschaften mit den tatsächlichen Nachhaltigkeitsbemühungen übereinstimmen. </a:t>
            </a:r>
            <a:endParaRPr lang="en-IE" sz="2000" dirty="0"/>
          </a:p>
        </p:txBody>
      </p:sp>
      <p:sp>
        <p:nvSpPr>
          <p:cNvPr id="6" name="Text Placeholder 5">
            <a:extLst>
              <a:ext uri="{FF2B5EF4-FFF2-40B4-BE49-F238E27FC236}">
                <a16:creationId xmlns:a16="http://schemas.microsoft.com/office/drawing/2014/main" id="{EFC8A87F-D862-1013-CC17-077DF774C1D7}"/>
              </a:ext>
            </a:extLst>
          </p:cNvPr>
          <p:cNvSpPr>
            <a:spLocks noGrp="1"/>
          </p:cNvSpPr>
          <p:nvPr>
            <p:ph type="body" sz="quarter" idx="54"/>
          </p:nvPr>
        </p:nvSpPr>
        <p:spPr>
          <a:xfrm>
            <a:off x="3594653" y="4374582"/>
            <a:ext cx="7160276" cy="730066"/>
          </a:xfrm>
        </p:spPr>
        <p:txBody>
          <a:bodyPr/>
          <a:lstStyle/>
          <a:p>
            <a:r>
              <a:rPr lang="en-GB" sz="3000" dirty="0"/>
              <a:t>Bürgerschaftliches Engagement</a:t>
            </a:r>
            <a:endParaRPr lang="en-IE" sz="3000" dirty="0"/>
          </a:p>
        </p:txBody>
      </p:sp>
      <p:sp>
        <p:nvSpPr>
          <p:cNvPr id="7" name="Text Placeholder 6">
            <a:extLst>
              <a:ext uri="{FF2B5EF4-FFF2-40B4-BE49-F238E27FC236}">
                <a16:creationId xmlns:a16="http://schemas.microsoft.com/office/drawing/2014/main" id="{47EC3BC3-B5ED-8069-2907-2FC425A3DAE9}"/>
              </a:ext>
            </a:extLst>
          </p:cNvPr>
          <p:cNvSpPr>
            <a:spLocks noGrp="1"/>
          </p:cNvSpPr>
          <p:nvPr>
            <p:ph type="body" sz="quarter" idx="55"/>
          </p:nvPr>
        </p:nvSpPr>
        <p:spPr>
          <a:xfrm>
            <a:off x="3606834" y="4860719"/>
            <a:ext cx="7727021" cy="945874"/>
          </a:xfrm>
        </p:spPr>
        <p:txBody>
          <a:bodyPr/>
          <a:lstStyle/>
          <a:p>
            <a:pPr algn="just"/>
            <a:r>
              <a:rPr lang="en-GB" sz="2000" dirty="0"/>
              <a:t>Die Einrichtung von Corporate-Citizenship-Programmen zeigt das Engagement eines Unternehmens für soziale Belange und das Wohl der Gemeinschaft. Dazu gehört auch die Beteiligung der Mitarbeiter an Freiwilligenprogrammen und gemeinnützigen Initiativen zur Unterstützung lokaler gemeinnütziger und wohltätiger Organisationen. </a:t>
            </a:r>
            <a:endParaRPr lang="en-IE" sz="2000" dirty="0"/>
          </a:p>
        </p:txBody>
      </p:sp>
      <p:pic>
        <p:nvPicPr>
          <p:cNvPr id="8" name="Picture Placeholder 11" descr="Shopping handbasket">
            <a:extLst>
              <a:ext uri="{FF2B5EF4-FFF2-40B4-BE49-F238E27FC236}">
                <a16:creationId xmlns:a16="http://schemas.microsoft.com/office/drawing/2014/main" id="{6F95FBF8-0A8E-3770-15F8-1EFF0B136440}"/>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t="564" b="564"/>
          <a:stretch>
            <a:fillRect/>
          </a:stretch>
        </p:blipFill>
        <p:spPr>
          <a:xfrm>
            <a:off x="1449388" y="409575"/>
            <a:ext cx="1839912" cy="1608138"/>
          </a:xfrm>
          <a:ln>
            <a:solidFill>
              <a:srgbClr val="0F486D"/>
            </a:solidFill>
          </a:ln>
        </p:spPr>
      </p:pic>
      <p:pic>
        <p:nvPicPr>
          <p:cNvPr id="10" name="Picture Placeholder 13">
            <a:extLst>
              <a:ext uri="{FF2B5EF4-FFF2-40B4-BE49-F238E27FC236}">
                <a16:creationId xmlns:a16="http://schemas.microsoft.com/office/drawing/2014/main" id="{B03C8ABB-0A6C-C678-F037-8EB4F38D14F8}"/>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rcRect t="861" b="861"/>
          <a:stretch/>
        </p:blipFill>
        <p:spPr>
          <a:xfrm>
            <a:off x="1449388" y="2506663"/>
            <a:ext cx="1839912" cy="1608137"/>
          </a:xfrm>
          <a:solidFill>
            <a:schemeClr val="bg1"/>
          </a:solidFill>
          <a:ln>
            <a:solidFill>
              <a:srgbClr val="0F486D"/>
            </a:solidFill>
          </a:ln>
        </p:spPr>
      </p:pic>
      <p:pic>
        <p:nvPicPr>
          <p:cNvPr id="12" name="Picture Placeholder 16" descr="Volunteer holding branches">
            <a:extLst>
              <a:ext uri="{FF2B5EF4-FFF2-40B4-BE49-F238E27FC236}">
                <a16:creationId xmlns:a16="http://schemas.microsoft.com/office/drawing/2014/main" id="{9E77A03A-6C18-506F-6424-D9FEF68D1FFE}"/>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l="11858" r="11858"/>
          <a:stretch>
            <a:fillRect/>
          </a:stretch>
        </p:blipFill>
        <p:spPr>
          <a:xfrm>
            <a:off x="1449388" y="4603750"/>
            <a:ext cx="1839912" cy="1608138"/>
          </a:xfrm>
          <a:ln>
            <a:solidFill>
              <a:srgbClr val="0F486D"/>
            </a:solidFill>
          </a:ln>
        </p:spPr>
      </p:pic>
    </p:spTree>
    <p:extLst>
      <p:ext uri="{BB962C8B-B14F-4D97-AF65-F5344CB8AC3E}">
        <p14:creationId xmlns:p14="http://schemas.microsoft.com/office/powerpoint/2010/main" val="2857297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2" y="523547"/>
            <a:ext cx="10483431" cy="804265"/>
          </a:xfrm>
        </p:spPr>
        <p:txBody>
          <a:bodyPr/>
          <a:lstStyle/>
          <a:p>
            <a:r>
              <a:rPr lang="en-US" dirty="0"/>
              <a:t>VERSTÄNDNIS VON NACHHALTIGKEIT</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1338014"/>
            <a:ext cx="10483429" cy="4439577"/>
          </a:xfrm>
        </p:spPr>
        <p:txBody>
          <a:bodyPr/>
          <a:lstStyle/>
          <a:p>
            <a:pPr algn="just">
              <a:spcAft>
                <a:spcPts val="600"/>
              </a:spcAft>
            </a:pPr>
            <a:r>
              <a:rPr lang="en-GB" sz="2000" dirty="0"/>
              <a:t>Nachhaltigkeit in der Wirtschaft bedeutet, </a:t>
            </a:r>
            <a:r>
              <a:rPr lang="en-GB" sz="2000" b="1" dirty="0"/>
              <a:t>langfristigen wirtschaftlichen Erfolg </a:t>
            </a:r>
            <a:r>
              <a:rPr lang="en-GB" sz="2000" dirty="0"/>
              <a:t>zu sichern und gleichzeitig </a:t>
            </a:r>
            <a:r>
              <a:rPr lang="en-GB" sz="2000" b="1" dirty="0"/>
              <a:t>die Umwelt zu schützen </a:t>
            </a:r>
            <a:r>
              <a:rPr lang="en-GB" sz="2000" dirty="0"/>
              <a:t>und </a:t>
            </a:r>
            <a:r>
              <a:rPr lang="en-GB" sz="2000" b="1" dirty="0"/>
              <a:t>soziale Gerechtigkeit zu fördern</a:t>
            </a:r>
            <a:r>
              <a:rPr lang="en-GB" sz="2000" dirty="0"/>
              <a:t>. Es bedeutet, so zu wirtschaften, dass die Bedürfnisse der Gegenwart befriedigt werden, ohne die Möglichkeiten künftiger Generationen zu gefährden, ihre Bedürfnisse zu befriedigen. </a:t>
            </a:r>
          </a:p>
          <a:p>
            <a:pPr algn="just">
              <a:spcAft>
                <a:spcPts val="600"/>
              </a:spcAft>
            </a:pPr>
            <a:r>
              <a:rPr lang="en-GB" sz="2000" dirty="0"/>
              <a:t>Der Triple-Bottom-Line-Ansatz (TBL) betrachtet Nachhaltigkeit durch drei Aspekte: Wirtschaftliche Rentabilität, soziale Verantwortung und Umweltverantwortung. </a:t>
            </a:r>
          </a:p>
          <a:p>
            <a:pPr algn="just">
              <a:spcAft>
                <a:spcPts val="600"/>
              </a:spcAft>
            </a:pPr>
            <a:r>
              <a:rPr lang="en-GB" sz="2000" dirty="0"/>
              <a:t>Wirtschaftliche Nachhaltigkeit gewährleistet Rentabilität und Wirtschaftswachstum. Die soziale Nachhaltigkeit konzentriert sich auf eine gerechte Behandlung und das Engagement der Gemeinschaft. Ökologische Nachhaltigkeit zielt darauf ab, Ressourcen zu erhalten und die Umweltverschmutzung zu reduzieren. Durch die Integration dieser Aspekte können Unternehmen ihre Widerstandsfähigkeit stärken, Innovationen fördern und langfristige Werte für alle Beteiligten schaffen und so zu einer nachhaltigen und gerechten Zukunft beitragen.</a:t>
            </a:r>
            <a:endParaRPr lang="en-US" sz="2000" dirty="0"/>
          </a:p>
        </p:txBody>
      </p:sp>
      <p:grpSp>
        <p:nvGrpSpPr>
          <p:cNvPr id="4" name="Group 3">
            <a:extLst>
              <a:ext uri="{FF2B5EF4-FFF2-40B4-BE49-F238E27FC236}">
                <a16:creationId xmlns:a16="http://schemas.microsoft.com/office/drawing/2014/main" id="{B5F5A779-6DA7-3676-B2A8-377D596A416E}"/>
              </a:ext>
            </a:extLst>
          </p:cNvPr>
          <p:cNvGrpSpPr/>
          <p:nvPr/>
        </p:nvGrpSpPr>
        <p:grpSpPr>
          <a:xfrm>
            <a:off x="10887146" y="351328"/>
            <a:ext cx="901130" cy="901727"/>
            <a:chOff x="5614841" y="786428"/>
            <a:chExt cx="901130" cy="901727"/>
          </a:xfrm>
          <a:solidFill>
            <a:srgbClr val="0F486D"/>
          </a:solidFill>
        </p:grpSpPr>
        <p:grpSp>
          <p:nvGrpSpPr>
            <p:cNvPr id="5" name="Graphic 2">
              <a:extLst>
                <a:ext uri="{FF2B5EF4-FFF2-40B4-BE49-F238E27FC236}">
                  <a16:creationId xmlns:a16="http://schemas.microsoft.com/office/drawing/2014/main" id="{870E227B-E4B2-A164-40FF-DD83D0B61F05}"/>
                </a:ext>
              </a:extLst>
            </p:cNvPr>
            <p:cNvGrpSpPr/>
            <p:nvPr/>
          </p:nvGrpSpPr>
          <p:grpSpPr>
            <a:xfrm>
              <a:off x="5715019" y="1058540"/>
              <a:ext cx="543506" cy="445337"/>
              <a:chOff x="5715019" y="1058540"/>
              <a:chExt cx="543506" cy="445337"/>
            </a:xfrm>
            <a:grpFill/>
          </p:grpSpPr>
          <p:sp>
            <p:nvSpPr>
              <p:cNvPr id="7" name="Freeform 210">
                <a:extLst>
                  <a:ext uri="{FF2B5EF4-FFF2-40B4-BE49-F238E27FC236}">
                    <a16:creationId xmlns:a16="http://schemas.microsoft.com/office/drawing/2014/main" id="{22CB199C-9AC3-AF64-5134-AE039B1D9FE9}"/>
                  </a:ext>
                </a:extLst>
              </p:cNvPr>
              <p:cNvSpPr/>
              <p:nvPr/>
            </p:nvSpPr>
            <p:spPr>
              <a:xfrm>
                <a:off x="5715019" y="1219331"/>
                <a:ext cx="104422" cy="284546"/>
              </a:xfrm>
              <a:custGeom>
                <a:avLst/>
                <a:gdLst>
                  <a:gd name="connsiteX0" fmla="*/ 22290 w 104422"/>
                  <a:gd name="connsiteY0" fmla="*/ 21680 h 284546"/>
                  <a:gd name="connsiteX1" fmla="*/ 51196 w 104422"/>
                  <a:gd name="connsiteY1" fmla="*/ 65942 h 284546"/>
                  <a:gd name="connsiteX2" fmla="*/ 77393 w 104422"/>
                  <a:gd name="connsiteY2" fmla="*/ 77685 h 284546"/>
                  <a:gd name="connsiteX3" fmla="*/ 103589 w 104422"/>
                  <a:gd name="connsiteY3" fmla="*/ 99365 h 284546"/>
                  <a:gd name="connsiteX4" fmla="*/ 86426 w 104422"/>
                  <a:gd name="connsiteY4" fmla="*/ 140918 h 284546"/>
                  <a:gd name="connsiteX5" fmla="*/ 71973 w 104422"/>
                  <a:gd name="connsiteY5" fmla="*/ 214087 h 284546"/>
                  <a:gd name="connsiteX6" fmla="*/ 91846 w 104422"/>
                  <a:gd name="connsiteY6" fmla="*/ 284546 h 284546"/>
                  <a:gd name="connsiteX7" fmla="*/ 10547 w 104422"/>
                  <a:gd name="connsiteY7" fmla="*/ 0 h 284546"/>
                  <a:gd name="connsiteX8" fmla="*/ 22290 w 104422"/>
                  <a:gd name="connsiteY8" fmla="*/ 21680 h 28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22" h="284546">
                    <a:moveTo>
                      <a:pt x="22290" y="21680"/>
                    </a:moveTo>
                    <a:cubicBezTo>
                      <a:pt x="32227" y="40649"/>
                      <a:pt x="41260" y="57813"/>
                      <a:pt x="51196" y="65942"/>
                    </a:cubicBezTo>
                    <a:cubicBezTo>
                      <a:pt x="58423" y="71363"/>
                      <a:pt x="67456" y="74976"/>
                      <a:pt x="77393" y="77685"/>
                    </a:cubicBezTo>
                    <a:cubicBezTo>
                      <a:pt x="103589" y="85816"/>
                      <a:pt x="106299" y="89429"/>
                      <a:pt x="103589" y="99365"/>
                    </a:cubicBezTo>
                    <a:cubicBezTo>
                      <a:pt x="100879" y="112012"/>
                      <a:pt x="93652" y="126465"/>
                      <a:pt x="86426" y="140918"/>
                    </a:cubicBezTo>
                    <a:cubicBezTo>
                      <a:pt x="72876" y="168921"/>
                      <a:pt x="60229" y="195117"/>
                      <a:pt x="71973" y="214087"/>
                    </a:cubicBezTo>
                    <a:cubicBezTo>
                      <a:pt x="89136" y="241187"/>
                      <a:pt x="91846" y="267383"/>
                      <a:pt x="91846" y="284546"/>
                    </a:cubicBezTo>
                    <a:cubicBezTo>
                      <a:pt x="13257" y="214087"/>
                      <a:pt x="-18359" y="102075"/>
                      <a:pt x="10547" y="0"/>
                    </a:cubicBezTo>
                    <a:cubicBezTo>
                      <a:pt x="15063" y="7226"/>
                      <a:pt x="18677" y="14453"/>
                      <a:pt x="22290" y="21680"/>
                    </a:cubicBezTo>
                    <a:close/>
                  </a:path>
                </a:pathLst>
              </a:custGeom>
              <a:solidFill>
                <a:srgbClr val="60BA47"/>
              </a:solidFill>
              <a:ln w="9028" cap="flat">
                <a:noFill/>
                <a:prstDash val="solid"/>
                <a:miter/>
              </a:ln>
            </p:spPr>
            <p:txBody>
              <a:bodyPr rtlCol="0" anchor="ctr"/>
              <a:lstStyle/>
              <a:p>
                <a:endParaRPr lang="en-US"/>
              </a:p>
            </p:txBody>
          </p:sp>
          <p:sp>
            <p:nvSpPr>
              <p:cNvPr id="8" name="Freeform 211">
                <a:extLst>
                  <a:ext uri="{FF2B5EF4-FFF2-40B4-BE49-F238E27FC236}">
                    <a16:creationId xmlns:a16="http://schemas.microsoft.com/office/drawing/2014/main" id="{EDF74149-F56C-54D8-0AE8-B45DBCFE4D8A}"/>
                  </a:ext>
                </a:extLst>
              </p:cNvPr>
              <p:cNvSpPr/>
              <p:nvPr/>
            </p:nvSpPr>
            <p:spPr>
              <a:xfrm>
                <a:off x="5906636" y="1058540"/>
                <a:ext cx="351889" cy="398614"/>
              </a:xfrm>
              <a:custGeom>
                <a:avLst/>
                <a:gdLst>
                  <a:gd name="connsiteX0" fmla="*/ 351889 w 351889"/>
                  <a:gd name="connsiteY0" fmla="*/ 151758 h 398614"/>
                  <a:gd name="connsiteX1" fmla="*/ 269687 w 351889"/>
                  <a:gd name="connsiteY1" fmla="*/ 221314 h 398614"/>
                  <a:gd name="connsiteX2" fmla="*/ 267880 w 351889"/>
                  <a:gd name="connsiteY2" fmla="*/ 314356 h 398614"/>
                  <a:gd name="connsiteX3" fmla="*/ 208261 w 351889"/>
                  <a:gd name="connsiteY3" fmla="*/ 394752 h 398614"/>
                  <a:gd name="connsiteX4" fmla="*/ 180258 w 351889"/>
                  <a:gd name="connsiteY4" fmla="*/ 392945 h 398614"/>
                  <a:gd name="connsiteX5" fmla="*/ 170322 w 351889"/>
                  <a:gd name="connsiteY5" fmla="*/ 304419 h 398614"/>
                  <a:gd name="connsiteX6" fmla="*/ 152255 w 351889"/>
                  <a:gd name="connsiteY6" fmla="*/ 202344 h 398614"/>
                  <a:gd name="connsiteX7" fmla="*/ 126962 w 351889"/>
                  <a:gd name="connsiteY7" fmla="*/ 195117 h 398614"/>
                  <a:gd name="connsiteX8" fmla="*/ 101669 w 351889"/>
                  <a:gd name="connsiteY8" fmla="*/ 198731 h 398614"/>
                  <a:gd name="connsiteX9" fmla="*/ 6820 w 351889"/>
                  <a:gd name="connsiteY9" fmla="*/ 177051 h 398614"/>
                  <a:gd name="connsiteX10" fmla="*/ 56503 w 351889"/>
                  <a:gd name="connsiteY10" fmla="*/ 71362 h 398614"/>
                  <a:gd name="connsiteX11" fmla="*/ 70053 w 351889"/>
                  <a:gd name="connsiteY11" fmla="*/ 61426 h 398614"/>
                  <a:gd name="connsiteX12" fmla="*/ 228134 w 351889"/>
                  <a:gd name="connsiteY12" fmla="*/ 0 h 398614"/>
                  <a:gd name="connsiteX13" fmla="*/ 351889 w 351889"/>
                  <a:gd name="connsiteY13" fmla="*/ 151758 h 39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889" h="398614">
                    <a:moveTo>
                      <a:pt x="351889" y="151758"/>
                    </a:moveTo>
                    <a:cubicBezTo>
                      <a:pt x="304013" y="177051"/>
                      <a:pt x="281430" y="196924"/>
                      <a:pt x="269687" y="221314"/>
                    </a:cubicBezTo>
                    <a:cubicBezTo>
                      <a:pt x="257944" y="247510"/>
                      <a:pt x="262460" y="275513"/>
                      <a:pt x="267880" y="314356"/>
                    </a:cubicBezTo>
                    <a:cubicBezTo>
                      <a:pt x="271494" y="336939"/>
                      <a:pt x="244394" y="379395"/>
                      <a:pt x="208261" y="394752"/>
                    </a:cubicBezTo>
                    <a:cubicBezTo>
                      <a:pt x="194711" y="400171"/>
                      <a:pt x="185678" y="400171"/>
                      <a:pt x="180258" y="392945"/>
                    </a:cubicBezTo>
                    <a:cubicBezTo>
                      <a:pt x="169418" y="379395"/>
                      <a:pt x="170322" y="337842"/>
                      <a:pt x="170322" y="304419"/>
                    </a:cubicBezTo>
                    <a:cubicBezTo>
                      <a:pt x="170322" y="258350"/>
                      <a:pt x="171225" y="218604"/>
                      <a:pt x="152255" y="202344"/>
                    </a:cubicBezTo>
                    <a:cubicBezTo>
                      <a:pt x="145028" y="196021"/>
                      <a:pt x="136899" y="193310"/>
                      <a:pt x="126962" y="195117"/>
                    </a:cubicBezTo>
                    <a:cubicBezTo>
                      <a:pt x="118832" y="196021"/>
                      <a:pt x="109799" y="197827"/>
                      <a:pt x="101669" y="198731"/>
                    </a:cubicBezTo>
                    <a:cubicBezTo>
                      <a:pt x="52890" y="206860"/>
                      <a:pt x="22177" y="209571"/>
                      <a:pt x="6820" y="177051"/>
                    </a:cubicBezTo>
                    <a:cubicBezTo>
                      <a:pt x="-18473" y="124658"/>
                      <a:pt x="33017" y="85816"/>
                      <a:pt x="56503" y="71362"/>
                    </a:cubicBezTo>
                    <a:cubicBezTo>
                      <a:pt x="61020" y="68652"/>
                      <a:pt x="65536" y="65039"/>
                      <a:pt x="70053" y="61426"/>
                    </a:cubicBezTo>
                    <a:cubicBezTo>
                      <a:pt x="126962" y="54199"/>
                      <a:pt x="180258" y="30713"/>
                      <a:pt x="228134" y="0"/>
                    </a:cubicBezTo>
                    <a:cubicBezTo>
                      <a:pt x="286850" y="33423"/>
                      <a:pt x="331113" y="87622"/>
                      <a:pt x="351889" y="151758"/>
                    </a:cubicBezTo>
                    <a:close/>
                  </a:path>
                </a:pathLst>
              </a:custGeom>
              <a:solidFill>
                <a:srgbClr val="60BA47"/>
              </a:solidFill>
              <a:ln w="9028" cap="flat">
                <a:noFill/>
                <a:prstDash val="solid"/>
                <a:miter/>
              </a:ln>
            </p:spPr>
            <p:txBody>
              <a:bodyPr rtlCol="0" anchor="ctr"/>
              <a:lstStyle/>
              <a:p>
                <a:endParaRPr lang="en-US"/>
              </a:p>
            </p:txBody>
          </p:sp>
        </p:grpSp>
        <p:sp>
          <p:nvSpPr>
            <p:cNvPr id="6" name="Freeform 209">
              <a:extLst>
                <a:ext uri="{FF2B5EF4-FFF2-40B4-BE49-F238E27FC236}">
                  <a16:creationId xmlns:a16="http://schemas.microsoft.com/office/drawing/2014/main" id="{13592A23-61D5-4FA5-C2D7-225477972E92}"/>
                </a:ext>
              </a:extLst>
            </p:cNvPr>
            <p:cNvSpPr/>
            <p:nvPr/>
          </p:nvSpPr>
          <p:spPr>
            <a:xfrm>
              <a:off x="5614841" y="786428"/>
              <a:ext cx="901130" cy="901727"/>
            </a:xfrm>
            <a:custGeom>
              <a:avLst/>
              <a:gdLst>
                <a:gd name="connsiteX0" fmla="*/ 887581 w 901130"/>
                <a:gd name="connsiteY0" fmla="*/ 104998 h 901727"/>
                <a:gd name="connsiteX1" fmla="*/ 855965 w 901130"/>
                <a:gd name="connsiteY1" fmla="*/ 33635 h 901727"/>
                <a:gd name="connsiteX2" fmla="*/ 841512 w 901130"/>
                <a:gd name="connsiteY2" fmla="*/ 27312 h 901727"/>
                <a:gd name="connsiteX3" fmla="*/ 768343 w 901130"/>
                <a:gd name="connsiteY3" fmla="*/ 54412 h 901727"/>
                <a:gd name="connsiteX4" fmla="*/ 663558 w 901130"/>
                <a:gd name="connsiteY4" fmla="*/ 154681 h 901727"/>
                <a:gd name="connsiteX5" fmla="*/ 657234 w 901130"/>
                <a:gd name="connsiteY5" fmla="*/ 272112 h 901727"/>
                <a:gd name="connsiteX6" fmla="*/ 586775 w 901130"/>
                <a:gd name="connsiteY6" fmla="*/ 210687 h 901727"/>
                <a:gd name="connsiteX7" fmla="*/ 525350 w 901130"/>
                <a:gd name="connsiteY7" fmla="*/ 116741 h 901727"/>
                <a:gd name="connsiteX8" fmla="*/ 504573 w 901130"/>
                <a:gd name="connsiteY8" fmla="*/ 133001 h 901727"/>
                <a:gd name="connsiteX9" fmla="*/ 553352 w 901130"/>
                <a:gd name="connsiteY9" fmla="*/ 204363 h 901727"/>
                <a:gd name="connsiteX10" fmla="*/ 433211 w 901130"/>
                <a:gd name="connsiteY10" fmla="*/ 180877 h 901727"/>
                <a:gd name="connsiteX11" fmla="*/ 319392 w 901130"/>
                <a:gd name="connsiteY11" fmla="*/ 25505 h 901727"/>
                <a:gd name="connsiteX12" fmla="*/ 352815 w 901130"/>
                <a:gd name="connsiteY12" fmla="*/ 29119 h 901727"/>
                <a:gd name="connsiteX13" fmla="*/ 455794 w 901130"/>
                <a:gd name="connsiteY13" fmla="*/ 82415 h 901727"/>
                <a:gd name="connsiteX14" fmla="*/ 472957 w 901130"/>
                <a:gd name="connsiteY14" fmla="*/ 62542 h 901727"/>
                <a:gd name="connsiteX15" fmla="*/ 358235 w 901130"/>
                <a:gd name="connsiteY15" fmla="*/ 3826 h 901727"/>
                <a:gd name="connsiteX16" fmla="*/ 154084 w 901130"/>
                <a:gd name="connsiteY16" fmla="*/ 48992 h 901727"/>
                <a:gd name="connsiteX17" fmla="*/ 61945 w 901130"/>
                <a:gd name="connsiteY17" fmla="*/ 114934 h 901727"/>
                <a:gd name="connsiteX18" fmla="*/ 60139 w 901130"/>
                <a:gd name="connsiteY18" fmla="*/ 133001 h 901727"/>
                <a:gd name="connsiteX19" fmla="*/ 119758 w 901130"/>
                <a:gd name="connsiteY19" fmla="*/ 226043 h 901727"/>
                <a:gd name="connsiteX20" fmla="*/ 182087 w 901130"/>
                <a:gd name="connsiteY20" fmla="*/ 290179 h 901727"/>
                <a:gd name="connsiteX21" fmla="*/ 164021 w 901130"/>
                <a:gd name="connsiteY21" fmla="*/ 306438 h 901727"/>
                <a:gd name="connsiteX22" fmla="*/ 93562 w 901130"/>
                <a:gd name="connsiteY22" fmla="*/ 411224 h 901727"/>
                <a:gd name="connsiteX23" fmla="*/ 71882 w 901130"/>
                <a:gd name="connsiteY23" fmla="*/ 521429 h 901727"/>
                <a:gd name="connsiteX24" fmla="*/ 124275 w 901130"/>
                <a:gd name="connsiteY24" fmla="*/ 695770 h 901727"/>
                <a:gd name="connsiteX25" fmla="*/ 262483 w 901130"/>
                <a:gd name="connsiteY25" fmla="*/ 807782 h 901727"/>
                <a:gd name="connsiteX26" fmla="*/ 272419 w 901130"/>
                <a:gd name="connsiteY26" fmla="*/ 783392 h 901727"/>
                <a:gd name="connsiteX27" fmla="*/ 215510 w 901130"/>
                <a:gd name="connsiteY27" fmla="*/ 751776 h 901727"/>
                <a:gd name="connsiteX28" fmla="*/ 192927 w 901130"/>
                <a:gd name="connsiteY28" fmla="*/ 647894 h 901727"/>
                <a:gd name="connsiteX29" fmla="*/ 208284 w 901130"/>
                <a:gd name="connsiteY29" fmla="*/ 600921 h 901727"/>
                <a:gd name="connsiteX30" fmla="*/ 227253 w 901130"/>
                <a:gd name="connsiteY30" fmla="*/ 553949 h 901727"/>
                <a:gd name="connsiteX31" fmla="*/ 214607 w 901130"/>
                <a:gd name="connsiteY31" fmla="*/ 514202 h 901727"/>
                <a:gd name="connsiteX32" fmla="*/ 182990 w 901130"/>
                <a:gd name="connsiteY32" fmla="*/ 500653 h 901727"/>
                <a:gd name="connsiteX33" fmla="*/ 165827 w 901130"/>
                <a:gd name="connsiteY33" fmla="*/ 494329 h 901727"/>
                <a:gd name="connsiteX34" fmla="*/ 143244 w 901130"/>
                <a:gd name="connsiteY34" fmla="*/ 458196 h 901727"/>
                <a:gd name="connsiteX35" fmla="*/ 118855 w 901130"/>
                <a:gd name="connsiteY35" fmla="*/ 418451 h 901727"/>
                <a:gd name="connsiteX36" fmla="*/ 201960 w 901130"/>
                <a:gd name="connsiteY36" fmla="*/ 308245 h 901727"/>
                <a:gd name="connsiteX37" fmla="*/ 313069 w 901130"/>
                <a:gd name="connsiteY37" fmla="*/ 349798 h 901727"/>
                <a:gd name="connsiteX38" fmla="*/ 273323 w 901130"/>
                <a:gd name="connsiteY38" fmla="*/ 476263 h 901727"/>
                <a:gd name="connsiteX39" fmla="*/ 396174 w 901130"/>
                <a:gd name="connsiteY39" fmla="*/ 512396 h 901727"/>
                <a:gd name="connsiteX40" fmla="*/ 420564 w 901130"/>
                <a:gd name="connsiteY40" fmla="*/ 508783 h 901727"/>
                <a:gd name="connsiteX41" fmla="*/ 425081 w 901130"/>
                <a:gd name="connsiteY41" fmla="*/ 509686 h 901727"/>
                <a:gd name="connsiteX42" fmla="*/ 435017 w 901130"/>
                <a:gd name="connsiteY42" fmla="*/ 591888 h 901727"/>
                <a:gd name="connsiteX43" fmla="*/ 450374 w 901130"/>
                <a:gd name="connsiteY43" fmla="*/ 696673 h 901727"/>
                <a:gd name="connsiteX44" fmla="*/ 483797 w 901130"/>
                <a:gd name="connsiteY44" fmla="*/ 712933 h 901727"/>
                <a:gd name="connsiteX45" fmla="*/ 509993 w 901130"/>
                <a:gd name="connsiteY45" fmla="*/ 706610 h 901727"/>
                <a:gd name="connsiteX46" fmla="*/ 584968 w 901130"/>
                <a:gd name="connsiteY46" fmla="*/ 597308 h 901727"/>
                <a:gd name="connsiteX47" fmla="*/ 584065 w 901130"/>
                <a:gd name="connsiteY47" fmla="*/ 519622 h 901727"/>
                <a:gd name="connsiteX48" fmla="*/ 649104 w 901130"/>
                <a:gd name="connsiteY48" fmla="*/ 465423 h 901727"/>
                <a:gd name="connsiteX49" fmla="*/ 655428 w 901130"/>
                <a:gd name="connsiteY49" fmla="*/ 528655 h 901727"/>
                <a:gd name="connsiteX50" fmla="*/ 571419 w 901130"/>
                <a:gd name="connsiteY50" fmla="*/ 724676 h 901727"/>
                <a:gd name="connsiteX51" fmla="*/ 345588 w 901130"/>
                <a:gd name="connsiteY51" fmla="*/ 802362 h 901727"/>
                <a:gd name="connsiteX52" fmla="*/ 342878 w 901130"/>
                <a:gd name="connsiteY52" fmla="*/ 828558 h 901727"/>
                <a:gd name="connsiteX53" fmla="*/ 589485 w 901130"/>
                <a:gd name="connsiteY53" fmla="*/ 743646 h 901727"/>
                <a:gd name="connsiteX54" fmla="*/ 681624 w 901130"/>
                <a:gd name="connsiteY54" fmla="*/ 528655 h 901727"/>
                <a:gd name="connsiteX55" fmla="*/ 543416 w 901130"/>
                <a:gd name="connsiteY55" fmla="*/ 269402 h 901727"/>
                <a:gd name="connsiteX56" fmla="*/ 581355 w 901130"/>
                <a:gd name="connsiteY56" fmla="*/ 239592 h 901727"/>
                <a:gd name="connsiteX57" fmla="*/ 661751 w 901130"/>
                <a:gd name="connsiteY57" fmla="*/ 320891 h 901727"/>
                <a:gd name="connsiteX58" fmla="*/ 722273 w 901130"/>
                <a:gd name="connsiteY58" fmla="*/ 581951 h 901727"/>
                <a:gd name="connsiteX59" fmla="*/ 319392 w 901130"/>
                <a:gd name="connsiteY59" fmla="*/ 870111 h 901727"/>
                <a:gd name="connsiteX60" fmla="*/ 91755 w 901130"/>
                <a:gd name="connsiteY60" fmla="*/ 728290 h 901727"/>
                <a:gd name="connsiteX61" fmla="*/ 31233 w 901130"/>
                <a:gd name="connsiteY61" fmla="*/ 467230 h 901727"/>
                <a:gd name="connsiteX62" fmla="*/ 5036 w 901130"/>
                <a:gd name="connsiteY62" fmla="*/ 462713 h 901727"/>
                <a:gd name="connsiteX63" fmla="*/ 70075 w 901130"/>
                <a:gd name="connsiteY63" fmla="*/ 743646 h 901727"/>
                <a:gd name="connsiteX64" fmla="*/ 314875 w 901130"/>
                <a:gd name="connsiteY64" fmla="*/ 896307 h 901727"/>
                <a:gd name="connsiteX65" fmla="*/ 377205 w 901130"/>
                <a:gd name="connsiteY65" fmla="*/ 901728 h 901727"/>
                <a:gd name="connsiteX66" fmla="*/ 595808 w 901130"/>
                <a:gd name="connsiteY66" fmla="*/ 831268 h 901727"/>
                <a:gd name="connsiteX67" fmla="*/ 748470 w 901130"/>
                <a:gd name="connsiteY67" fmla="*/ 586468 h 901727"/>
                <a:gd name="connsiteX68" fmla="*/ 722273 w 901130"/>
                <a:gd name="connsiteY68" fmla="*/ 375091 h 901727"/>
                <a:gd name="connsiteX69" fmla="*/ 782796 w 901130"/>
                <a:gd name="connsiteY69" fmla="*/ 350701 h 901727"/>
                <a:gd name="connsiteX70" fmla="*/ 887581 w 901130"/>
                <a:gd name="connsiteY70" fmla="*/ 250432 h 901727"/>
                <a:gd name="connsiteX71" fmla="*/ 887581 w 901130"/>
                <a:gd name="connsiteY71" fmla="*/ 104998 h 901727"/>
                <a:gd name="connsiteX72" fmla="*/ 121565 w 901130"/>
                <a:gd name="connsiteY72" fmla="*/ 467230 h 901727"/>
                <a:gd name="connsiteX73" fmla="*/ 150471 w 901130"/>
                <a:gd name="connsiteY73" fmla="*/ 511493 h 901727"/>
                <a:gd name="connsiteX74" fmla="*/ 176667 w 901130"/>
                <a:gd name="connsiteY74" fmla="*/ 523236 h 901727"/>
                <a:gd name="connsiteX75" fmla="*/ 202864 w 901130"/>
                <a:gd name="connsiteY75" fmla="*/ 544916 h 901727"/>
                <a:gd name="connsiteX76" fmla="*/ 185701 w 901130"/>
                <a:gd name="connsiteY76" fmla="*/ 586468 h 901727"/>
                <a:gd name="connsiteX77" fmla="*/ 171247 w 901130"/>
                <a:gd name="connsiteY77" fmla="*/ 659637 h 901727"/>
                <a:gd name="connsiteX78" fmla="*/ 191121 w 901130"/>
                <a:gd name="connsiteY78" fmla="*/ 730096 h 901727"/>
                <a:gd name="connsiteX79" fmla="*/ 109822 w 901130"/>
                <a:gd name="connsiteY79" fmla="*/ 445550 h 901727"/>
                <a:gd name="connsiteX80" fmla="*/ 121565 w 901130"/>
                <a:gd name="connsiteY80" fmla="*/ 467230 h 901727"/>
                <a:gd name="connsiteX81" fmla="*/ 760213 w 901130"/>
                <a:gd name="connsiteY81" fmla="*/ 207976 h 901727"/>
                <a:gd name="connsiteX82" fmla="*/ 722273 w 901130"/>
                <a:gd name="connsiteY82" fmla="*/ 116741 h 901727"/>
                <a:gd name="connsiteX83" fmla="*/ 780086 w 901130"/>
                <a:gd name="connsiteY83" fmla="*/ 77898 h 901727"/>
                <a:gd name="connsiteX84" fmla="*/ 821639 w 901130"/>
                <a:gd name="connsiteY84" fmla="*/ 60735 h 901727"/>
                <a:gd name="connsiteX85" fmla="*/ 760213 w 901130"/>
                <a:gd name="connsiteY85" fmla="*/ 207976 h 901727"/>
                <a:gd name="connsiteX86" fmla="*/ 846932 w 901130"/>
                <a:gd name="connsiteY86" fmla="*/ 70671 h 901727"/>
                <a:gd name="connsiteX87" fmla="*/ 863192 w 901130"/>
                <a:gd name="connsiteY87" fmla="*/ 113127 h 901727"/>
                <a:gd name="connsiteX88" fmla="*/ 874935 w 901130"/>
                <a:gd name="connsiteY88" fmla="*/ 176360 h 901727"/>
                <a:gd name="connsiteX89" fmla="*/ 787313 w 901130"/>
                <a:gd name="connsiteY89" fmla="*/ 212493 h 901727"/>
                <a:gd name="connsiteX90" fmla="*/ 846932 w 901130"/>
                <a:gd name="connsiteY90" fmla="*/ 70671 h 901727"/>
                <a:gd name="connsiteX91" fmla="*/ 688850 w 901130"/>
                <a:gd name="connsiteY91" fmla="*/ 164617 h 901727"/>
                <a:gd name="connsiteX92" fmla="*/ 703304 w 901130"/>
                <a:gd name="connsiteY92" fmla="*/ 139324 h 901727"/>
                <a:gd name="connsiteX93" fmla="*/ 745760 w 901130"/>
                <a:gd name="connsiteY93" fmla="*/ 243206 h 901727"/>
                <a:gd name="connsiteX94" fmla="*/ 707820 w 901130"/>
                <a:gd name="connsiteY94" fmla="*/ 334441 h 901727"/>
                <a:gd name="connsiteX95" fmla="*/ 690657 w 901130"/>
                <a:gd name="connsiteY95" fmla="*/ 291082 h 901727"/>
                <a:gd name="connsiteX96" fmla="*/ 688850 w 901130"/>
                <a:gd name="connsiteY96" fmla="*/ 164617 h 901727"/>
                <a:gd name="connsiteX97" fmla="*/ 772860 w 901130"/>
                <a:gd name="connsiteY97" fmla="*/ 325408 h 901727"/>
                <a:gd name="connsiteX98" fmla="*/ 732210 w 901130"/>
                <a:gd name="connsiteY98" fmla="*/ 342571 h 901727"/>
                <a:gd name="connsiteX99" fmla="*/ 771956 w 901130"/>
                <a:gd name="connsiteY99" fmla="*/ 247723 h 901727"/>
                <a:gd name="connsiteX100" fmla="*/ 873128 w 901130"/>
                <a:gd name="connsiteY100" fmla="*/ 206170 h 901727"/>
                <a:gd name="connsiteX101" fmla="*/ 864095 w 901130"/>
                <a:gd name="connsiteY101" fmla="*/ 239592 h 901727"/>
                <a:gd name="connsiteX102" fmla="*/ 772860 w 901130"/>
                <a:gd name="connsiteY102" fmla="*/ 325408 h 901727"/>
                <a:gd name="connsiteX103" fmla="*/ 297712 w 901130"/>
                <a:gd name="connsiteY103" fmla="*/ 318182 h 901727"/>
                <a:gd name="connsiteX104" fmla="*/ 284163 w 901130"/>
                <a:gd name="connsiteY104" fmla="*/ 314569 h 901727"/>
                <a:gd name="connsiteX105" fmla="*/ 430501 w 901130"/>
                <a:gd name="connsiteY105" fmla="*/ 207073 h 901727"/>
                <a:gd name="connsiteX106" fmla="*/ 550642 w 901130"/>
                <a:gd name="connsiteY106" fmla="*/ 230559 h 901727"/>
                <a:gd name="connsiteX107" fmla="*/ 297712 w 901130"/>
                <a:gd name="connsiteY107" fmla="*/ 318182 h 901727"/>
                <a:gd name="connsiteX108" fmla="*/ 164021 w 901130"/>
                <a:gd name="connsiteY108" fmla="*/ 235979 h 901727"/>
                <a:gd name="connsiteX109" fmla="*/ 97175 w 901130"/>
                <a:gd name="connsiteY109" fmla="*/ 142937 h 901727"/>
                <a:gd name="connsiteX110" fmla="*/ 249836 w 901130"/>
                <a:gd name="connsiteY110" fmla="*/ 172747 h 901727"/>
                <a:gd name="connsiteX111" fmla="*/ 164021 w 901130"/>
                <a:gd name="connsiteY111" fmla="*/ 235979 h 901727"/>
                <a:gd name="connsiteX112" fmla="*/ 191121 w 901130"/>
                <a:gd name="connsiteY112" fmla="*/ 59832 h 901727"/>
                <a:gd name="connsiteX113" fmla="*/ 255256 w 901130"/>
                <a:gd name="connsiteY113" fmla="*/ 147454 h 901727"/>
                <a:gd name="connsiteX114" fmla="*/ 100788 w 901130"/>
                <a:gd name="connsiteY114" fmla="*/ 117644 h 901727"/>
                <a:gd name="connsiteX115" fmla="*/ 191121 w 901130"/>
                <a:gd name="connsiteY115" fmla="*/ 59832 h 901727"/>
                <a:gd name="connsiteX116" fmla="*/ 293196 w 901130"/>
                <a:gd name="connsiteY116" fmla="*/ 154681 h 901727"/>
                <a:gd name="connsiteX117" fmla="*/ 215510 w 901130"/>
                <a:gd name="connsiteY117" fmla="*/ 48992 h 901727"/>
                <a:gd name="connsiteX118" fmla="*/ 289583 w 901130"/>
                <a:gd name="connsiteY118" fmla="*/ 28216 h 901727"/>
                <a:gd name="connsiteX119" fmla="*/ 397078 w 901130"/>
                <a:gd name="connsiteY119" fmla="*/ 174554 h 901727"/>
                <a:gd name="connsiteX120" fmla="*/ 293196 w 901130"/>
                <a:gd name="connsiteY120" fmla="*/ 154681 h 901727"/>
                <a:gd name="connsiteX121" fmla="*/ 285066 w 901130"/>
                <a:gd name="connsiteY121" fmla="*/ 179973 h 901727"/>
                <a:gd name="connsiteX122" fmla="*/ 394368 w 901130"/>
                <a:gd name="connsiteY122" fmla="*/ 201653 h 901727"/>
                <a:gd name="connsiteX123" fmla="*/ 253450 w 901130"/>
                <a:gd name="connsiteY123" fmla="*/ 304632 h 901727"/>
                <a:gd name="connsiteX124" fmla="*/ 182087 w 901130"/>
                <a:gd name="connsiteY124" fmla="*/ 254949 h 901727"/>
                <a:gd name="connsiteX125" fmla="*/ 285066 w 901130"/>
                <a:gd name="connsiteY125" fmla="*/ 179973 h 901727"/>
                <a:gd name="connsiteX126" fmla="*/ 642781 w 901130"/>
                <a:gd name="connsiteY126" fmla="*/ 437420 h 901727"/>
                <a:gd name="connsiteX127" fmla="*/ 560579 w 901130"/>
                <a:gd name="connsiteY127" fmla="*/ 506976 h 901727"/>
                <a:gd name="connsiteX128" fmla="*/ 558772 w 901130"/>
                <a:gd name="connsiteY128" fmla="*/ 600018 h 901727"/>
                <a:gd name="connsiteX129" fmla="*/ 499153 w 901130"/>
                <a:gd name="connsiteY129" fmla="*/ 680414 h 901727"/>
                <a:gd name="connsiteX130" fmla="*/ 471150 w 901130"/>
                <a:gd name="connsiteY130" fmla="*/ 678607 h 901727"/>
                <a:gd name="connsiteX131" fmla="*/ 461214 w 901130"/>
                <a:gd name="connsiteY131" fmla="*/ 590082 h 901727"/>
                <a:gd name="connsiteX132" fmla="*/ 443147 w 901130"/>
                <a:gd name="connsiteY132" fmla="*/ 488006 h 901727"/>
                <a:gd name="connsiteX133" fmla="*/ 417854 w 901130"/>
                <a:gd name="connsiteY133" fmla="*/ 480779 h 901727"/>
                <a:gd name="connsiteX134" fmla="*/ 392561 w 901130"/>
                <a:gd name="connsiteY134" fmla="*/ 484393 h 901727"/>
                <a:gd name="connsiteX135" fmla="*/ 297712 w 901130"/>
                <a:gd name="connsiteY135" fmla="*/ 462713 h 901727"/>
                <a:gd name="connsiteX136" fmla="*/ 347395 w 901130"/>
                <a:gd name="connsiteY136" fmla="*/ 357024 h 901727"/>
                <a:gd name="connsiteX137" fmla="*/ 360945 w 901130"/>
                <a:gd name="connsiteY137" fmla="*/ 347088 h 901727"/>
                <a:gd name="connsiteX138" fmla="*/ 519026 w 901130"/>
                <a:gd name="connsiteY138" fmla="*/ 285662 h 901727"/>
                <a:gd name="connsiteX139" fmla="*/ 642781 w 901130"/>
                <a:gd name="connsiteY139" fmla="*/ 437420 h 9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01130" h="901727">
                  <a:moveTo>
                    <a:pt x="887581" y="104998"/>
                  </a:moveTo>
                  <a:cubicBezTo>
                    <a:pt x="874935" y="64348"/>
                    <a:pt x="856868" y="34539"/>
                    <a:pt x="855965" y="33635"/>
                  </a:cubicBezTo>
                  <a:cubicBezTo>
                    <a:pt x="853255" y="29119"/>
                    <a:pt x="846932" y="26409"/>
                    <a:pt x="841512" y="27312"/>
                  </a:cubicBezTo>
                  <a:cubicBezTo>
                    <a:pt x="839705" y="27312"/>
                    <a:pt x="807186" y="35442"/>
                    <a:pt x="768343" y="54412"/>
                  </a:cubicBezTo>
                  <a:cubicBezTo>
                    <a:pt x="716853" y="80608"/>
                    <a:pt x="679817" y="114934"/>
                    <a:pt x="663558" y="154681"/>
                  </a:cubicBezTo>
                  <a:cubicBezTo>
                    <a:pt x="650008" y="187200"/>
                    <a:pt x="647298" y="227849"/>
                    <a:pt x="657234" y="272112"/>
                  </a:cubicBezTo>
                  <a:cubicBezTo>
                    <a:pt x="636458" y="248626"/>
                    <a:pt x="612972" y="227849"/>
                    <a:pt x="586775" y="210687"/>
                  </a:cubicBezTo>
                  <a:cubicBezTo>
                    <a:pt x="578645" y="195330"/>
                    <a:pt x="557869" y="156487"/>
                    <a:pt x="525350" y="116741"/>
                  </a:cubicBezTo>
                  <a:cubicBezTo>
                    <a:pt x="514510" y="103191"/>
                    <a:pt x="493733" y="120354"/>
                    <a:pt x="504573" y="133001"/>
                  </a:cubicBezTo>
                  <a:cubicBezTo>
                    <a:pt x="526253" y="160100"/>
                    <a:pt x="542513" y="186297"/>
                    <a:pt x="553352" y="204363"/>
                  </a:cubicBezTo>
                  <a:lnTo>
                    <a:pt x="433211" y="180877"/>
                  </a:lnTo>
                  <a:lnTo>
                    <a:pt x="319392" y="25505"/>
                  </a:lnTo>
                  <a:cubicBezTo>
                    <a:pt x="330232" y="25505"/>
                    <a:pt x="341975" y="26409"/>
                    <a:pt x="352815" y="29119"/>
                  </a:cubicBezTo>
                  <a:cubicBezTo>
                    <a:pt x="388045" y="36345"/>
                    <a:pt x="422371" y="53508"/>
                    <a:pt x="455794" y="82415"/>
                  </a:cubicBezTo>
                  <a:cubicBezTo>
                    <a:pt x="468440" y="93255"/>
                    <a:pt x="485603" y="73382"/>
                    <a:pt x="472957" y="62542"/>
                  </a:cubicBezTo>
                  <a:cubicBezTo>
                    <a:pt x="435920" y="30925"/>
                    <a:pt x="397078" y="11052"/>
                    <a:pt x="358235" y="3826"/>
                  </a:cubicBezTo>
                  <a:cubicBezTo>
                    <a:pt x="297712" y="-7917"/>
                    <a:pt x="227253" y="7439"/>
                    <a:pt x="154084" y="48992"/>
                  </a:cubicBezTo>
                  <a:cubicBezTo>
                    <a:pt x="99885" y="79705"/>
                    <a:pt x="63752" y="113127"/>
                    <a:pt x="61945" y="114934"/>
                  </a:cubicBezTo>
                  <a:cubicBezTo>
                    <a:pt x="57429" y="119451"/>
                    <a:pt x="56525" y="127581"/>
                    <a:pt x="60139" y="133001"/>
                  </a:cubicBezTo>
                  <a:cubicBezTo>
                    <a:pt x="65559" y="143841"/>
                    <a:pt x="85432" y="183587"/>
                    <a:pt x="119758" y="226043"/>
                  </a:cubicBezTo>
                  <a:cubicBezTo>
                    <a:pt x="139631" y="251336"/>
                    <a:pt x="160407" y="272112"/>
                    <a:pt x="182087" y="290179"/>
                  </a:cubicBezTo>
                  <a:cubicBezTo>
                    <a:pt x="175764" y="295598"/>
                    <a:pt x="170344" y="301019"/>
                    <a:pt x="164021" y="306438"/>
                  </a:cubicBezTo>
                  <a:cubicBezTo>
                    <a:pt x="133308" y="336248"/>
                    <a:pt x="109822" y="372381"/>
                    <a:pt x="93562" y="411224"/>
                  </a:cubicBezTo>
                  <a:cubicBezTo>
                    <a:pt x="80012" y="445550"/>
                    <a:pt x="72785" y="482586"/>
                    <a:pt x="71882" y="521429"/>
                  </a:cubicBezTo>
                  <a:cubicBezTo>
                    <a:pt x="70979" y="583758"/>
                    <a:pt x="89045" y="644281"/>
                    <a:pt x="124275" y="695770"/>
                  </a:cubicBezTo>
                  <a:cubicBezTo>
                    <a:pt x="158601" y="746356"/>
                    <a:pt x="206477" y="785199"/>
                    <a:pt x="262483" y="807782"/>
                  </a:cubicBezTo>
                  <a:cubicBezTo>
                    <a:pt x="277839" y="814105"/>
                    <a:pt x="287776" y="789715"/>
                    <a:pt x="272419" y="783392"/>
                  </a:cubicBezTo>
                  <a:cubicBezTo>
                    <a:pt x="251643" y="775263"/>
                    <a:pt x="232673" y="764423"/>
                    <a:pt x="215510" y="751776"/>
                  </a:cubicBezTo>
                  <a:cubicBezTo>
                    <a:pt x="217317" y="739130"/>
                    <a:pt x="222737" y="693964"/>
                    <a:pt x="192927" y="647894"/>
                  </a:cubicBezTo>
                  <a:cubicBezTo>
                    <a:pt x="188410" y="641570"/>
                    <a:pt x="201057" y="615374"/>
                    <a:pt x="208284" y="600921"/>
                  </a:cubicBezTo>
                  <a:cubicBezTo>
                    <a:pt x="216413" y="585565"/>
                    <a:pt x="223640" y="569305"/>
                    <a:pt x="227253" y="553949"/>
                  </a:cubicBezTo>
                  <a:cubicBezTo>
                    <a:pt x="230867" y="537689"/>
                    <a:pt x="226350" y="524139"/>
                    <a:pt x="214607" y="514202"/>
                  </a:cubicBezTo>
                  <a:cubicBezTo>
                    <a:pt x="205573" y="506976"/>
                    <a:pt x="193830" y="503362"/>
                    <a:pt x="182990" y="500653"/>
                  </a:cubicBezTo>
                  <a:cubicBezTo>
                    <a:pt x="175764" y="498846"/>
                    <a:pt x="168538" y="496136"/>
                    <a:pt x="165827" y="494329"/>
                  </a:cubicBezTo>
                  <a:cubicBezTo>
                    <a:pt x="160407" y="489813"/>
                    <a:pt x="150471" y="471746"/>
                    <a:pt x="143244" y="458196"/>
                  </a:cubicBezTo>
                  <a:cubicBezTo>
                    <a:pt x="135114" y="442840"/>
                    <a:pt x="126985" y="427484"/>
                    <a:pt x="118855" y="418451"/>
                  </a:cubicBezTo>
                  <a:cubicBezTo>
                    <a:pt x="136921" y="375994"/>
                    <a:pt x="165827" y="338055"/>
                    <a:pt x="201960" y="308245"/>
                  </a:cubicBezTo>
                  <a:cubicBezTo>
                    <a:pt x="235383" y="330828"/>
                    <a:pt x="273323" y="346185"/>
                    <a:pt x="313069" y="349798"/>
                  </a:cubicBezTo>
                  <a:cubicBezTo>
                    <a:pt x="266096" y="385931"/>
                    <a:pt x="251643" y="432000"/>
                    <a:pt x="273323" y="476263"/>
                  </a:cubicBezTo>
                  <a:cubicBezTo>
                    <a:pt x="298616" y="527752"/>
                    <a:pt x="350105" y="519622"/>
                    <a:pt x="396174" y="512396"/>
                  </a:cubicBezTo>
                  <a:cubicBezTo>
                    <a:pt x="404304" y="511493"/>
                    <a:pt x="412434" y="509686"/>
                    <a:pt x="420564" y="508783"/>
                  </a:cubicBezTo>
                  <a:cubicBezTo>
                    <a:pt x="423274" y="508783"/>
                    <a:pt x="424177" y="508783"/>
                    <a:pt x="425081" y="509686"/>
                  </a:cubicBezTo>
                  <a:cubicBezTo>
                    <a:pt x="435017" y="518719"/>
                    <a:pt x="435017" y="561175"/>
                    <a:pt x="435017" y="591888"/>
                  </a:cubicBezTo>
                  <a:cubicBezTo>
                    <a:pt x="435017" y="635248"/>
                    <a:pt x="434114" y="675897"/>
                    <a:pt x="450374" y="696673"/>
                  </a:cubicBezTo>
                  <a:cubicBezTo>
                    <a:pt x="458503" y="707513"/>
                    <a:pt x="470247" y="712933"/>
                    <a:pt x="483797" y="712933"/>
                  </a:cubicBezTo>
                  <a:cubicBezTo>
                    <a:pt x="491926" y="712933"/>
                    <a:pt x="500960" y="711126"/>
                    <a:pt x="509993" y="706610"/>
                  </a:cubicBezTo>
                  <a:cubicBezTo>
                    <a:pt x="549739" y="689447"/>
                    <a:pt x="591292" y="637958"/>
                    <a:pt x="584968" y="597308"/>
                  </a:cubicBezTo>
                  <a:cubicBezTo>
                    <a:pt x="579549" y="562078"/>
                    <a:pt x="575935" y="538592"/>
                    <a:pt x="584065" y="519622"/>
                  </a:cubicBezTo>
                  <a:cubicBezTo>
                    <a:pt x="592195" y="502459"/>
                    <a:pt x="611165" y="486200"/>
                    <a:pt x="649104" y="465423"/>
                  </a:cubicBezTo>
                  <a:cubicBezTo>
                    <a:pt x="653621" y="486200"/>
                    <a:pt x="656331" y="506976"/>
                    <a:pt x="655428" y="528655"/>
                  </a:cubicBezTo>
                  <a:cubicBezTo>
                    <a:pt x="654524" y="602728"/>
                    <a:pt x="624715" y="672284"/>
                    <a:pt x="571419" y="724676"/>
                  </a:cubicBezTo>
                  <a:cubicBezTo>
                    <a:pt x="511800" y="782489"/>
                    <a:pt x="428694" y="811395"/>
                    <a:pt x="345588" y="802362"/>
                  </a:cubicBezTo>
                  <a:cubicBezTo>
                    <a:pt x="328425" y="800555"/>
                    <a:pt x="325715" y="826751"/>
                    <a:pt x="342878" y="828558"/>
                  </a:cubicBezTo>
                  <a:cubicBezTo>
                    <a:pt x="433211" y="838495"/>
                    <a:pt x="524446" y="806879"/>
                    <a:pt x="589485" y="743646"/>
                  </a:cubicBezTo>
                  <a:cubicBezTo>
                    <a:pt x="647298" y="686737"/>
                    <a:pt x="680721" y="610858"/>
                    <a:pt x="681624" y="528655"/>
                  </a:cubicBezTo>
                  <a:cubicBezTo>
                    <a:pt x="682527" y="420257"/>
                    <a:pt x="627425" y="324505"/>
                    <a:pt x="543416" y="269402"/>
                  </a:cubicBezTo>
                  <a:cubicBezTo>
                    <a:pt x="560579" y="256756"/>
                    <a:pt x="574129" y="245916"/>
                    <a:pt x="581355" y="239592"/>
                  </a:cubicBezTo>
                  <a:cubicBezTo>
                    <a:pt x="612068" y="261272"/>
                    <a:pt x="639168" y="289275"/>
                    <a:pt x="661751" y="320891"/>
                  </a:cubicBezTo>
                  <a:cubicBezTo>
                    <a:pt x="715950" y="396771"/>
                    <a:pt x="737630" y="489813"/>
                    <a:pt x="722273" y="581951"/>
                  </a:cubicBezTo>
                  <a:cubicBezTo>
                    <a:pt x="690657" y="772552"/>
                    <a:pt x="509993" y="901728"/>
                    <a:pt x="319392" y="870111"/>
                  </a:cubicBezTo>
                  <a:cubicBezTo>
                    <a:pt x="227253" y="854755"/>
                    <a:pt x="145954" y="804168"/>
                    <a:pt x="91755" y="728290"/>
                  </a:cubicBezTo>
                  <a:cubicBezTo>
                    <a:pt x="37556" y="652410"/>
                    <a:pt x="15876" y="559368"/>
                    <a:pt x="31233" y="467230"/>
                  </a:cubicBezTo>
                  <a:cubicBezTo>
                    <a:pt x="33942" y="450970"/>
                    <a:pt x="7746" y="446453"/>
                    <a:pt x="5036" y="462713"/>
                  </a:cubicBezTo>
                  <a:cubicBezTo>
                    <a:pt x="-11224" y="562078"/>
                    <a:pt x="12263" y="661444"/>
                    <a:pt x="70075" y="743646"/>
                  </a:cubicBezTo>
                  <a:cubicBezTo>
                    <a:pt x="128791" y="825848"/>
                    <a:pt x="215510" y="879144"/>
                    <a:pt x="314875" y="896307"/>
                  </a:cubicBezTo>
                  <a:cubicBezTo>
                    <a:pt x="335652" y="899921"/>
                    <a:pt x="356428" y="901728"/>
                    <a:pt x="377205" y="901728"/>
                  </a:cubicBezTo>
                  <a:cubicBezTo>
                    <a:pt x="454890" y="901728"/>
                    <a:pt x="530769" y="877338"/>
                    <a:pt x="595808" y="831268"/>
                  </a:cubicBezTo>
                  <a:cubicBezTo>
                    <a:pt x="678011" y="772552"/>
                    <a:pt x="731307" y="685833"/>
                    <a:pt x="748470" y="586468"/>
                  </a:cubicBezTo>
                  <a:cubicBezTo>
                    <a:pt x="760213" y="513299"/>
                    <a:pt x="751180" y="441034"/>
                    <a:pt x="722273" y="375091"/>
                  </a:cubicBezTo>
                  <a:cubicBezTo>
                    <a:pt x="735823" y="371478"/>
                    <a:pt x="758406" y="363348"/>
                    <a:pt x="782796" y="350701"/>
                  </a:cubicBezTo>
                  <a:cubicBezTo>
                    <a:pt x="834285" y="324505"/>
                    <a:pt x="871322" y="290179"/>
                    <a:pt x="887581" y="250432"/>
                  </a:cubicBezTo>
                  <a:cubicBezTo>
                    <a:pt x="905648" y="209783"/>
                    <a:pt x="905648" y="160100"/>
                    <a:pt x="887581" y="104998"/>
                  </a:cubicBezTo>
                  <a:close/>
                  <a:moveTo>
                    <a:pt x="121565" y="467230"/>
                  </a:moveTo>
                  <a:cubicBezTo>
                    <a:pt x="131501" y="486200"/>
                    <a:pt x="140534" y="503362"/>
                    <a:pt x="150471" y="511493"/>
                  </a:cubicBezTo>
                  <a:cubicBezTo>
                    <a:pt x="157698" y="516912"/>
                    <a:pt x="166731" y="520526"/>
                    <a:pt x="176667" y="523236"/>
                  </a:cubicBezTo>
                  <a:cubicBezTo>
                    <a:pt x="202864" y="531366"/>
                    <a:pt x="205573" y="534979"/>
                    <a:pt x="202864" y="544916"/>
                  </a:cubicBezTo>
                  <a:cubicBezTo>
                    <a:pt x="200154" y="557562"/>
                    <a:pt x="192927" y="572015"/>
                    <a:pt x="185701" y="586468"/>
                  </a:cubicBezTo>
                  <a:cubicBezTo>
                    <a:pt x="172151" y="614471"/>
                    <a:pt x="159504" y="640667"/>
                    <a:pt x="171247" y="659637"/>
                  </a:cubicBezTo>
                  <a:cubicBezTo>
                    <a:pt x="188410" y="686737"/>
                    <a:pt x="191121" y="712933"/>
                    <a:pt x="191121" y="730096"/>
                  </a:cubicBezTo>
                  <a:cubicBezTo>
                    <a:pt x="112531" y="659637"/>
                    <a:pt x="80915" y="547625"/>
                    <a:pt x="109822" y="445550"/>
                  </a:cubicBezTo>
                  <a:cubicBezTo>
                    <a:pt x="114338" y="452777"/>
                    <a:pt x="117951" y="460906"/>
                    <a:pt x="121565" y="467230"/>
                  </a:cubicBezTo>
                  <a:close/>
                  <a:moveTo>
                    <a:pt x="760213" y="207976"/>
                  </a:moveTo>
                  <a:lnTo>
                    <a:pt x="722273" y="116741"/>
                  </a:lnTo>
                  <a:cubicBezTo>
                    <a:pt x="740340" y="99578"/>
                    <a:pt x="762020" y="86931"/>
                    <a:pt x="780086" y="77898"/>
                  </a:cubicBezTo>
                  <a:cubicBezTo>
                    <a:pt x="795443" y="69768"/>
                    <a:pt x="809896" y="64348"/>
                    <a:pt x="821639" y="60735"/>
                  </a:cubicBezTo>
                  <a:lnTo>
                    <a:pt x="760213" y="207976"/>
                  </a:lnTo>
                  <a:close/>
                  <a:moveTo>
                    <a:pt x="846932" y="70671"/>
                  </a:moveTo>
                  <a:cubicBezTo>
                    <a:pt x="852352" y="81511"/>
                    <a:pt x="858675" y="96868"/>
                    <a:pt x="863192" y="113127"/>
                  </a:cubicBezTo>
                  <a:cubicBezTo>
                    <a:pt x="868612" y="131194"/>
                    <a:pt x="874031" y="153777"/>
                    <a:pt x="874935" y="176360"/>
                  </a:cubicBezTo>
                  <a:lnTo>
                    <a:pt x="787313" y="212493"/>
                  </a:lnTo>
                  <a:lnTo>
                    <a:pt x="846932" y="70671"/>
                  </a:lnTo>
                  <a:close/>
                  <a:moveTo>
                    <a:pt x="688850" y="164617"/>
                  </a:moveTo>
                  <a:cubicBezTo>
                    <a:pt x="692464" y="155584"/>
                    <a:pt x="697884" y="146550"/>
                    <a:pt x="703304" y="139324"/>
                  </a:cubicBezTo>
                  <a:lnTo>
                    <a:pt x="745760" y="243206"/>
                  </a:lnTo>
                  <a:lnTo>
                    <a:pt x="707820" y="334441"/>
                  </a:lnTo>
                  <a:cubicBezTo>
                    <a:pt x="702400" y="322698"/>
                    <a:pt x="696077" y="308245"/>
                    <a:pt x="690657" y="291082"/>
                  </a:cubicBezTo>
                  <a:cubicBezTo>
                    <a:pt x="679817" y="256756"/>
                    <a:pt x="670784" y="207073"/>
                    <a:pt x="688850" y="164617"/>
                  </a:cubicBezTo>
                  <a:close/>
                  <a:moveTo>
                    <a:pt x="772860" y="325408"/>
                  </a:moveTo>
                  <a:cubicBezTo>
                    <a:pt x="758406" y="332635"/>
                    <a:pt x="743953" y="338055"/>
                    <a:pt x="732210" y="342571"/>
                  </a:cubicBezTo>
                  <a:lnTo>
                    <a:pt x="771956" y="247723"/>
                  </a:lnTo>
                  <a:lnTo>
                    <a:pt x="873128" y="206170"/>
                  </a:lnTo>
                  <a:cubicBezTo>
                    <a:pt x="871322" y="217913"/>
                    <a:pt x="868612" y="228753"/>
                    <a:pt x="864095" y="239592"/>
                  </a:cubicBezTo>
                  <a:cubicBezTo>
                    <a:pt x="846932" y="282049"/>
                    <a:pt x="805379" y="310052"/>
                    <a:pt x="772860" y="325408"/>
                  </a:cubicBezTo>
                  <a:close/>
                  <a:moveTo>
                    <a:pt x="297712" y="318182"/>
                  </a:moveTo>
                  <a:cubicBezTo>
                    <a:pt x="293196" y="317278"/>
                    <a:pt x="288679" y="316375"/>
                    <a:pt x="284163" y="314569"/>
                  </a:cubicBezTo>
                  <a:lnTo>
                    <a:pt x="430501" y="207073"/>
                  </a:lnTo>
                  <a:lnTo>
                    <a:pt x="550642" y="230559"/>
                  </a:lnTo>
                  <a:cubicBezTo>
                    <a:pt x="506380" y="265789"/>
                    <a:pt x="399788" y="338055"/>
                    <a:pt x="297712" y="318182"/>
                  </a:cubicBezTo>
                  <a:close/>
                  <a:moveTo>
                    <a:pt x="164021" y="235979"/>
                  </a:moveTo>
                  <a:cubicBezTo>
                    <a:pt x="132405" y="202556"/>
                    <a:pt x="109822" y="166424"/>
                    <a:pt x="97175" y="142937"/>
                  </a:cubicBezTo>
                  <a:lnTo>
                    <a:pt x="249836" y="172747"/>
                  </a:lnTo>
                  <a:lnTo>
                    <a:pt x="164021" y="235979"/>
                  </a:lnTo>
                  <a:close/>
                  <a:moveTo>
                    <a:pt x="191121" y="59832"/>
                  </a:moveTo>
                  <a:lnTo>
                    <a:pt x="255256" y="147454"/>
                  </a:lnTo>
                  <a:lnTo>
                    <a:pt x="100788" y="117644"/>
                  </a:lnTo>
                  <a:cubicBezTo>
                    <a:pt x="120661" y="101384"/>
                    <a:pt x="152278" y="78801"/>
                    <a:pt x="191121" y="59832"/>
                  </a:cubicBezTo>
                  <a:close/>
                  <a:moveTo>
                    <a:pt x="293196" y="154681"/>
                  </a:moveTo>
                  <a:lnTo>
                    <a:pt x="215510" y="48992"/>
                  </a:lnTo>
                  <a:cubicBezTo>
                    <a:pt x="238996" y="39055"/>
                    <a:pt x="263386" y="31829"/>
                    <a:pt x="289583" y="28216"/>
                  </a:cubicBezTo>
                  <a:lnTo>
                    <a:pt x="397078" y="174554"/>
                  </a:lnTo>
                  <a:lnTo>
                    <a:pt x="293196" y="154681"/>
                  </a:lnTo>
                  <a:close/>
                  <a:moveTo>
                    <a:pt x="285066" y="179973"/>
                  </a:moveTo>
                  <a:lnTo>
                    <a:pt x="394368" y="201653"/>
                  </a:lnTo>
                  <a:lnTo>
                    <a:pt x="253450" y="304632"/>
                  </a:lnTo>
                  <a:cubicBezTo>
                    <a:pt x="227253" y="291986"/>
                    <a:pt x="202864" y="274822"/>
                    <a:pt x="182087" y="254949"/>
                  </a:cubicBezTo>
                  <a:lnTo>
                    <a:pt x="285066" y="179973"/>
                  </a:lnTo>
                  <a:close/>
                  <a:moveTo>
                    <a:pt x="642781" y="437420"/>
                  </a:moveTo>
                  <a:cubicBezTo>
                    <a:pt x="594905" y="462713"/>
                    <a:pt x="572322" y="482586"/>
                    <a:pt x="560579" y="506976"/>
                  </a:cubicBezTo>
                  <a:cubicBezTo>
                    <a:pt x="548836" y="533172"/>
                    <a:pt x="553352" y="561175"/>
                    <a:pt x="558772" y="600018"/>
                  </a:cubicBezTo>
                  <a:cubicBezTo>
                    <a:pt x="562385" y="622601"/>
                    <a:pt x="535286" y="665057"/>
                    <a:pt x="499153" y="680414"/>
                  </a:cubicBezTo>
                  <a:cubicBezTo>
                    <a:pt x="485603" y="685833"/>
                    <a:pt x="476570" y="685833"/>
                    <a:pt x="471150" y="678607"/>
                  </a:cubicBezTo>
                  <a:cubicBezTo>
                    <a:pt x="460310" y="665057"/>
                    <a:pt x="461214" y="623504"/>
                    <a:pt x="461214" y="590082"/>
                  </a:cubicBezTo>
                  <a:cubicBezTo>
                    <a:pt x="461214" y="544012"/>
                    <a:pt x="462117" y="504266"/>
                    <a:pt x="443147" y="488006"/>
                  </a:cubicBezTo>
                  <a:cubicBezTo>
                    <a:pt x="435920" y="481683"/>
                    <a:pt x="427791" y="478973"/>
                    <a:pt x="417854" y="480779"/>
                  </a:cubicBezTo>
                  <a:cubicBezTo>
                    <a:pt x="409724" y="481683"/>
                    <a:pt x="400691" y="483489"/>
                    <a:pt x="392561" y="484393"/>
                  </a:cubicBezTo>
                  <a:cubicBezTo>
                    <a:pt x="343782" y="492522"/>
                    <a:pt x="313069" y="495233"/>
                    <a:pt x="297712" y="462713"/>
                  </a:cubicBezTo>
                  <a:cubicBezTo>
                    <a:pt x="272419" y="410320"/>
                    <a:pt x="323909" y="371478"/>
                    <a:pt x="347395" y="357024"/>
                  </a:cubicBezTo>
                  <a:cubicBezTo>
                    <a:pt x="351912" y="354314"/>
                    <a:pt x="356428" y="350701"/>
                    <a:pt x="360945" y="347088"/>
                  </a:cubicBezTo>
                  <a:cubicBezTo>
                    <a:pt x="417854" y="339861"/>
                    <a:pt x="471150" y="316375"/>
                    <a:pt x="519026" y="285662"/>
                  </a:cubicBezTo>
                  <a:cubicBezTo>
                    <a:pt x="577742" y="319085"/>
                    <a:pt x="622005" y="373284"/>
                    <a:pt x="642781" y="437420"/>
                  </a:cubicBezTo>
                  <a:close/>
                </a:path>
              </a:pathLst>
            </a:custGeom>
            <a:grpFill/>
            <a:ln w="9028" cap="flat">
              <a:noFill/>
              <a:prstDash val="solid"/>
              <a:miter/>
            </a:ln>
          </p:spPr>
          <p:txBody>
            <a:bodyPr rtlCol="0" anchor="ctr"/>
            <a:lstStyle/>
            <a:p>
              <a:endParaRPr lang="en-US"/>
            </a:p>
          </p:txBody>
        </p:sp>
      </p:grpSp>
    </p:spTree>
    <p:extLst>
      <p:ext uri="{BB962C8B-B14F-4D97-AF65-F5344CB8AC3E}">
        <p14:creationId xmlns:p14="http://schemas.microsoft.com/office/powerpoint/2010/main" val="35786716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E0EBD-8276-5E4D-4463-FFF822A2477C}"/>
              </a:ext>
            </a:extLst>
          </p:cNvPr>
          <p:cNvSpPr>
            <a:spLocks noGrp="1"/>
          </p:cNvSpPr>
          <p:nvPr>
            <p:ph type="body" sz="quarter" idx="30"/>
          </p:nvPr>
        </p:nvSpPr>
        <p:spPr>
          <a:xfrm>
            <a:off x="854280" y="523547"/>
            <a:ext cx="10483431" cy="804265"/>
          </a:xfrm>
        </p:spPr>
        <p:txBody>
          <a:bodyPr/>
          <a:lstStyle/>
          <a:p>
            <a:r>
              <a:rPr lang="en-IE" dirty="0"/>
              <a:t>Bewertung der Auswirkungen</a:t>
            </a:r>
          </a:p>
        </p:txBody>
      </p:sp>
      <p:sp>
        <p:nvSpPr>
          <p:cNvPr id="3" name="Text Placeholder 2">
            <a:extLst>
              <a:ext uri="{FF2B5EF4-FFF2-40B4-BE49-F238E27FC236}">
                <a16:creationId xmlns:a16="http://schemas.microsoft.com/office/drawing/2014/main" id="{C6485A9C-8761-5459-986C-41CF7EA10F74}"/>
              </a:ext>
            </a:extLst>
          </p:cNvPr>
          <p:cNvSpPr>
            <a:spLocks noGrp="1"/>
          </p:cNvSpPr>
          <p:nvPr>
            <p:ph type="body" sz="quarter" idx="48"/>
          </p:nvPr>
        </p:nvSpPr>
        <p:spPr>
          <a:xfrm>
            <a:off x="854280" y="1736144"/>
            <a:ext cx="10483429" cy="4439577"/>
          </a:xfrm>
        </p:spPr>
        <p:txBody>
          <a:bodyPr/>
          <a:lstStyle/>
          <a:p>
            <a:pPr algn="just">
              <a:spcAft>
                <a:spcPts val="600"/>
              </a:spcAft>
            </a:pPr>
            <a:r>
              <a:rPr lang="en-GB" dirty="0"/>
              <a:t>Die Bewertung der sozialen und ökologischen Auswirkungen von Unternehmenspraktiken ist von entscheidender Bedeutung für das Verständnis der umfassenderen Auswirkungen von Unternehmenstätigkeiten. </a:t>
            </a:r>
            <a:r>
              <a:rPr lang="en-GB" b="1" dirty="0"/>
              <a:t>Durch die systematische Erfassung von Daten über die Ergebnisse können Unternehmen ihren Beitrag zum gesellschaftlichen Wohlbefinden und zur ökologischen Nachhaltigkeit messen</a:t>
            </a:r>
            <a:r>
              <a:rPr lang="en-GB" dirty="0"/>
              <a:t>. </a:t>
            </a:r>
          </a:p>
          <a:p>
            <a:pPr algn="just">
              <a:spcAft>
                <a:spcPts val="600"/>
              </a:spcAft>
            </a:pPr>
            <a:r>
              <a:rPr lang="en-GB" dirty="0"/>
              <a:t>Dieser Prozess umfasst die Sammlung </a:t>
            </a:r>
            <a:r>
              <a:rPr lang="en-GB" b="1" dirty="0"/>
              <a:t>quantitativer und qualitativer Informationen </a:t>
            </a:r>
            <a:r>
              <a:rPr lang="en-GB" dirty="0"/>
              <a:t>darüber, wie sich die Unternehmenstätigkeit auf die Stakeholder und die Umwelt auswirkt. Die Einbindung der Stakeholder ist von zentraler Bedeutung. Sie umfasst die aktive Einbindung von Mitarbeitern, Kunden, Lieferanten und lokalen Gemeinschaften, um deren Perspektiven und Erwartungen zu verstehen. </a:t>
            </a:r>
          </a:p>
        </p:txBody>
      </p:sp>
      <p:grpSp>
        <p:nvGrpSpPr>
          <p:cNvPr id="4" name="Graphic 3">
            <a:extLst>
              <a:ext uri="{FF2B5EF4-FFF2-40B4-BE49-F238E27FC236}">
                <a16:creationId xmlns:a16="http://schemas.microsoft.com/office/drawing/2014/main" id="{F35D4646-1190-25D9-AD51-1D87E2119558}"/>
              </a:ext>
            </a:extLst>
          </p:cNvPr>
          <p:cNvGrpSpPr/>
          <p:nvPr/>
        </p:nvGrpSpPr>
        <p:grpSpPr>
          <a:xfrm>
            <a:off x="10332217" y="512398"/>
            <a:ext cx="948997" cy="948995"/>
            <a:chOff x="665400" y="3833425"/>
            <a:chExt cx="948997" cy="948995"/>
          </a:xfrm>
          <a:solidFill>
            <a:srgbClr val="0F486D"/>
          </a:solidFill>
        </p:grpSpPr>
        <p:sp>
          <p:nvSpPr>
            <p:cNvPr id="5" name="Freeform 1464">
              <a:extLst>
                <a:ext uri="{FF2B5EF4-FFF2-40B4-BE49-F238E27FC236}">
                  <a16:creationId xmlns:a16="http://schemas.microsoft.com/office/drawing/2014/main" id="{70D98E49-C9A8-D865-0C4B-A6FA266EE29C}"/>
                </a:ext>
              </a:extLst>
            </p:cNvPr>
            <p:cNvSpPr/>
            <p:nvPr/>
          </p:nvSpPr>
          <p:spPr>
            <a:xfrm>
              <a:off x="665400" y="3833425"/>
              <a:ext cx="948997" cy="948995"/>
            </a:xfrm>
            <a:custGeom>
              <a:avLst/>
              <a:gdLst>
                <a:gd name="connsiteX0" fmla="*/ 872200 w 948997"/>
                <a:gd name="connsiteY0" fmla="*/ 677462 h 948995"/>
                <a:gd name="connsiteX1" fmla="*/ 641808 w 948997"/>
                <a:gd name="connsiteY1" fmla="*/ 677462 h 948995"/>
                <a:gd name="connsiteX2" fmla="*/ 641808 w 948997"/>
                <a:gd name="connsiteY2" fmla="*/ 320903 h 948995"/>
                <a:gd name="connsiteX3" fmla="*/ 658264 w 948997"/>
                <a:gd name="connsiteY3" fmla="*/ 312675 h 948995"/>
                <a:gd name="connsiteX4" fmla="*/ 713120 w 948997"/>
                <a:gd name="connsiteY4" fmla="*/ 381244 h 948995"/>
                <a:gd name="connsiteX5" fmla="*/ 671978 w 948997"/>
                <a:gd name="connsiteY5" fmla="*/ 477240 h 948995"/>
                <a:gd name="connsiteX6" fmla="*/ 809116 w 948997"/>
                <a:gd name="connsiteY6" fmla="*/ 614379 h 948995"/>
                <a:gd name="connsiteX7" fmla="*/ 946255 w 948997"/>
                <a:gd name="connsiteY7" fmla="*/ 477240 h 948995"/>
                <a:gd name="connsiteX8" fmla="*/ 809116 w 948997"/>
                <a:gd name="connsiteY8" fmla="*/ 340102 h 948995"/>
                <a:gd name="connsiteX9" fmla="*/ 735062 w 948997"/>
                <a:gd name="connsiteY9" fmla="*/ 362045 h 948995"/>
                <a:gd name="connsiteX10" fmla="*/ 680206 w 948997"/>
                <a:gd name="connsiteY10" fmla="*/ 293475 h 948995"/>
                <a:gd name="connsiteX11" fmla="*/ 732319 w 948997"/>
                <a:gd name="connsiteY11" fmla="*/ 186508 h 948995"/>
                <a:gd name="connsiteX12" fmla="*/ 784432 w 948997"/>
                <a:gd name="connsiteY12" fmla="*/ 186508 h 948995"/>
                <a:gd name="connsiteX13" fmla="*/ 814602 w 948997"/>
                <a:gd name="connsiteY13" fmla="*/ 246849 h 948995"/>
                <a:gd name="connsiteX14" fmla="*/ 940769 w 948997"/>
                <a:gd name="connsiteY14" fmla="*/ 246849 h 948995"/>
                <a:gd name="connsiteX15" fmla="*/ 902371 w 948997"/>
                <a:gd name="connsiteY15" fmla="*/ 170051 h 948995"/>
                <a:gd name="connsiteX16" fmla="*/ 940769 w 948997"/>
                <a:gd name="connsiteY16" fmla="*/ 93254 h 948995"/>
                <a:gd name="connsiteX17" fmla="*/ 814602 w 948997"/>
                <a:gd name="connsiteY17" fmla="*/ 93254 h 948995"/>
                <a:gd name="connsiteX18" fmla="*/ 784432 w 948997"/>
                <a:gd name="connsiteY18" fmla="*/ 153594 h 948995"/>
                <a:gd name="connsiteX19" fmla="*/ 732319 w 948997"/>
                <a:gd name="connsiteY19" fmla="*/ 153594 h 948995"/>
                <a:gd name="connsiteX20" fmla="*/ 565010 w 948997"/>
                <a:gd name="connsiteY20" fmla="*/ 0 h 948995"/>
                <a:gd name="connsiteX21" fmla="*/ 458042 w 948997"/>
                <a:gd name="connsiteY21" fmla="*/ 38399 h 948995"/>
                <a:gd name="connsiteX22" fmla="*/ 414158 w 948997"/>
                <a:gd name="connsiteY22" fmla="*/ 0 h 948995"/>
                <a:gd name="connsiteX23" fmla="*/ 230393 w 948997"/>
                <a:gd name="connsiteY23" fmla="*/ 0 h 948995"/>
                <a:gd name="connsiteX24" fmla="*/ 186508 w 948997"/>
                <a:gd name="connsiteY24" fmla="*/ 30170 h 948995"/>
                <a:gd name="connsiteX25" fmla="*/ 76798 w 948997"/>
                <a:gd name="connsiteY25" fmla="*/ 30170 h 948995"/>
                <a:gd name="connsiteX26" fmla="*/ 0 w 948997"/>
                <a:gd name="connsiteY26" fmla="*/ 106968 h 948995"/>
                <a:gd name="connsiteX27" fmla="*/ 0 w 948997"/>
                <a:gd name="connsiteY27" fmla="*/ 872198 h 948995"/>
                <a:gd name="connsiteX28" fmla="*/ 76798 w 948997"/>
                <a:gd name="connsiteY28" fmla="*/ 948995 h 948995"/>
                <a:gd name="connsiteX29" fmla="*/ 565010 w 948997"/>
                <a:gd name="connsiteY29" fmla="*/ 948995 h 948995"/>
                <a:gd name="connsiteX30" fmla="*/ 641808 w 948997"/>
                <a:gd name="connsiteY30" fmla="*/ 872198 h 948995"/>
                <a:gd name="connsiteX31" fmla="*/ 641808 w 948997"/>
                <a:gd name="connsiteY31" fmla="*/ 825571 h 948995"/>
                <a:gd name="connsiteX32" fmla="*/ 872200 w 948997"/>
                <a:gd name="connsiteY32" fmla="*/ 825571 h 948995"/>
                <a:gd name="connsiteX33" fmla="*/ 948998 w 948997"/>
                <a:gd name="connsiteY33" fmla="*/ 748774 h 948995"/>
                <a:gd name="connsiteX34" fmla="*/ 872200 w 948997"/>
                <a:gd name="connsiteY34" fmla="*/ 677462 h 948995"/>
                <a:gd name="connsiteX35" fmla="*/ 872200 w 948997"/>
                <a:gd name="connsiteY35" fmla="*/ 677462 h 948995"/>
                <a:gd name="connsiteX36" fmla="*/ 918827 w 948997"/>
                <a:gd name="connsiteY36" fmla="*/ 477240 h 948995"/>
                <a:gd name="connsiteX37" fmla="*/ 811859 w 948997"/>
                <a:gd name="connsiteY37" fmla="*/ 584208 h 948995"/>
                <a:gd name="connsiteX38" fmla="*/ 704891 w 948997"/>
                <a:gd name="connsiteY38" fmla="*/ 477240 h 948995"/>
                <a:gd name="connsiteX39" fmla="*/ 811859 w 948997"/>
                <a:gd name="connsiteY39" fmla="*/ 370273 h 948995"/>
                <a:gd name="connsiteX40" fmla="*/ 918827 w 948997"/>
                <a:gd name="connsiteY40" fmla="*/ 477240 h 948995"/>
                <a:gd name="connsiteX41" fmla="*/ 918827 w 948997"/>
                <a:gd name="connsiteY41" fmla="*/ 477240 h 948995"/>
                <a:gd name="connsiteX42" fmla="*/ 836544 w 948997"/>
                <a:gd name="connsiteY42" fmla="*/ 216678 h 948995"/>
                <a:gd name="connsiteX43" fmla="*/ 820088 w 948997"/>
                <a:gd name="connsiteY43" fmla="*/ 186508 h 948995"/>
                <a:gd name="connsiteX44" fmla="*/ 877686 w 948997"/>
                <a:gd name="connsiteY44" fmla="*/ 186508 h 948995"/>
                <a:gd name="connsiteX45" fmla="*/ 894142 w 948997"/>
                <a:gd name="connsiteY45" fmla="*/ 216678 h 948995"/>
                <a:gd name="connsiteX46" fmla="*/ 836544 w 948997"/>
                <a:gd name="connsiteY46" fmla="*/ 216678 h 948995"/>
                <a:gd name="connsiteX47" fmla="*/ 836544 w 948997"/>
                <a:gd name="connsiteY47" fmla="*/ 126167 h 948995"/>
                <a:gd name="connsiteX48" fmla="*/ 894142 w 948997"/>
                <a:gd name="connsiteY48" fmla="*/ 126167 h 948995"/>
                <a:gd name="connsiteX49" fmla="*/ 877686 w 948997"/>
                <a:gd name="connsiteY49" fmla="*/ 156337 h 948995"/>
                <a:gd name="connsiteX50" fmla="*/ 820088 w 948997"/>
                <a:gd name="connsiteY50" fmla="*/ 156337 h 948995"/>
                <a:gd name="connsiteX51" fmla="*/ 836544 w 948997"/>
                <a:gd name="connsiteY51" fmla="*/ 126167 h 948995"/>
                <a:gd name="connsiteX52" fmla="*/ 186508 w 948997"/>
                <a:gd name="connsiteY52" fmla="*/ 126167 h 948995"/>
                <a:gd name="connsiteX53" fmla="*/ 230393 w 948997"/>
                <a:gd name="connsiteY53" fmla="*/ 156337 h 948995"/>
                <a:gd name="connsiteX54" fmla="*/ 400444 w 948997"/>
                <a:gd name="connsiteY54" fmla="*/ 156337 h 948995"/>
                <a:gd name="connsiteX55" fmla="*/ 400444 w 948997"/>
                <a:gd name="connsiteY55" fmla="*/ 172794 h 948995"/>
                <a:gd name="connsiteX56" fmla="*/ 455300 w 948997"/>
                <a:gd name="connsiteY56" fmla="*/ 296218 h 948995"/>
                <a:gd name="connsiteX57" fmla="*/ 430615 w 948997"/>
                <a:gd name="connsiteY57" fmla="*/ 326389 h 948995"/>
                <a:gd name="connsiteX58" fmla="*/ 323647 w 948997"/>
                <a:gd name="connsiteY58" fmla="*/ 293475 h 948995"/>
                <a:gd name="connsiteX59" fmla="*/ 126167 w 948997"/>
                <a:gd name="connsiteY59" fmla="*/ 490954 h 948995"/>
                <a:gd name="connsiteX60" fmla="*/ 323647 w 948997"/>
                <a:gd name="connsiteY60" fmla="*/ 688433 h 948995"/>
                <a:gd name="connsiteX61" fmla="*/ 521126 w 948997"/>
                <a:gd name="connsiteY61" fmla="*/ 490954 h 948995"/>
                <a:gd name="connsiteX62" fmla="*/ 455300 w 948997"/>
                <a:gd name="connsiteY62" fmla="*/ 342845 h 948995"/>
                <a:gd name="connsiteX63" fmla="*/ 479984 w 948997"/>
                <a:gd name="connsiteY63" fmla="*/ 312675 h 948995"/>
                <a:gd name="connsiteX64" fmla="*/ 554039 w 948997"/>
                <a:gd name="connsiteY64" fmla="*/ 337360 h 948995"/>
                <a:gd name="connsiteX65" fmla="*/ 554039 w 948997"/>
                <a:gd name="connsiteY65" fmla="*/ 677462 h 948995"/>
                <a:gd name="connsiteX66" fmla="*/ 474499 w 948997"/>
                <a:gd name="connsiteY66" fmla="*/ 677462 h 948995"/>
                <a:gd name="connsiteX67" fmla="*/ 364788 w 948997"/>
                <a:gd name="connsiteY67" fmla="*/ 718604 h 948995"/>
                <a:gd name="connsiteX68" fmla="*/ 340103 w 948997"/>
                <a:gd name="connsiteY68" fmla="*/ 754260 h 948995"/>
                <a:gd name="connsiteX69" fmla="*/ 364788 w 948997"/>
                <a:gd name="connsiteY69" fmla="*/ 789916 h 948995"/>
                <a:gd name="connsiteX70" fmla="*/ 474499 w 948997"/>
                <a:gd name="connsiteY70" fmla="*/ 831057 h 948995"/>
                <a:gd name="connsiteX71" fmla="*/ 554039 w 948997"/>
                <a:gd name="connsiteY71" fmla="*/ 831057 h 948995"/>
                <a:gd name="connsiteX72" fmla="*/ 554039 w 948997"/>
                <a:gd name="connsiteY72" fmla="*/ 861227 h 948995"/>
                <a:gd name="connsiteX73" fmla="*/ 93254 w 948997"/>
                <a:gd name="connsiteY73" fmla="*/ 861227 h 948995"/>
                <a:gd name="connsiteX74" fmla="*/ 93254 w 948997"/>
                <a:gd name="connsiteY74" fmla="*/ 126167 h 948995"/>
                <a:gd name="connsiteX75" fmla="*/ 186508 w 948997"/>
                <a:gd name="connsiteY75" fmla="*/ 126167 h 948995"/>
                <a:gd name="connsiteX76" fmla="*/ 397701 w 948997"/>
                <a:gd name="connsiteY76" fmla="*/ 570495 h 948995"/>
                <a:gd name="connsiteX77" fmla="*/ 367531 w 948997"/>
                <a:gd name="connsiteY77" fmla="*/ 570495 h 948995"/>
                <a:gd name="connsiteX78" fmla="*/ 367531 w 948997"/>
                <a:gd name="connsiteY78" fmla="*/ 447070 h 948995"/>
                <a:gd name="connsiteX79" fmla="*/ 397701 w 948997"/>
                <a:gd name="connsiteY79" fmla="*/ 447070 h 948995"/>
                <a:gd name="connsiteX80" fmla="*/ 397701 w 948997"/>
                <a:gd name="connsiteY80" fmla="*/ 570495 h 948995"/>
                <a:gd name="connsiteX81" fmla="*/ 337360 w 948997"/>
                <a:gd name="connsiteY81" fmla="*/ 570495 h 948995"/>
                <a:gd name="connsiteX82" fmla="*/ 307190 w 948997"/>
                <a:gd name="connsiteY82" fmla="*/ 570495 h 948995"/>
                <a:gd name="connsiteX83" fmla="*/ 307190 w 948997"/>
                <a:gd name="connsiteY83" fmla="*/ 416900 h 948995"/>
                <a:gd name="connsiteX84" fmla="*/ 337360 w 948997"/>
                <a:gd name="connsiteY84" fmla="*/ 416900 h 948995"/>
                <a:gd name="connsiteX85" fmla="*/ 337360 w 948997"/>
                <a:gd name="connsiteY85" fmla="*/ 570495 h 948995"/>
                <a:gd name="connsiteX86" fmla="*/ 277020 w 948997"/>
                <a:gd name="connsiteY86" fmla="*/ 570495 h 948995"/>
                <a:gd name="connsiteX87" fmla="*/ 246849 w 948997"/>
                <a:gd name="connsiteY87" fmla="*/ 570495 h 948995"/>
                <a:gd name="connsiteX88" fmla="*/ 246849 w 948997"/>
                <a:gd name="connsiteY88" fmla="*/ 510154 h 948995"/>
                <a:gd name="connsiteX89" fmla="*/ 277020 w 948997"/>
                <a:gd name="connsiteY89" fmla="*/ 510154 h 948995"/>
                <a:gd name="connsiteX90" fmla="*/ 277020 w 948997"/>
                <a:gd name="connsiteY90" fmla="*/ 570495 h 948995"/>
                <a:gd name="connsiteX91" fmla="*/ 452557 w 948997"/>
                <a:gd name="connsiteY91" fmla="*/ 600665 h 948995"/>
                <a:gd name="connsiteX92" fmla="*/ 323647 w 948997"/>
                <a:gd name="connsiteY92" fmla="*/ 661005 h 948995"/>
                <a:gd name="connsiteX93" fmla="*/ 194737 w 948997"/>
                <a:gd name="connsiteY93" fmla="*/ 600665 h 948995"/>
                <a:gd name="connsiteX94" fmla="*/ 452557 w 948997"/>
                <a:gd name="connsiteY94" fmla="*/ 600665 h 948995"/>
                <a:gd name="connsiteX95" fmla="*/ 471756 w 948997"/>
                <a:gd name="connsiteY95" fmla="*/ 570495 h 948995"/>
                <a:gd name="connsiteX96" fmla="*/ 427872 w 948997"/>
                <a:gd name="connsiteY96" fmla="*/ 570495 h 948995"/>
                <a:gd name="connsiteX97" fmla="*/ 427872 w 948997"/>
                <a:gd name="connsiteY97" fmla="*/ 416900 h 948995"/>
                <a:gd name="connsiteX98" fmla="*/ 367531 w 948997"/>
                <a:gd name="connsiteY98" fmla="*/ 416900 h 948995"/>
                <a:gd name="connsiteX99" fmla="*/ 367531 w 948997"/>
                <a:gd name="connsiteY99" fmla="*/ 386729 h 948995"/>
                <a:gd name="connsiteX100" fmla="*/ 277020 w 948997"/>
                <a:gd name="connsiteY100" fmla="*/ 386729 h 948995"/>
                <a:gd name="connsiteX101" fmla="*/ 277020 w 948997"/>
                <a:gd name="connsiteY101" fmla="*/ 477240 h 948995"/>
                <a:gd name="connsiteX102" fmla="*/ 216679 w 948997"/>
                <a:gd name="connsiteY102" fmla="*/ 477240 h 948995"/>
                <a:gd name="connsiteX103" fmla="*/ 216679 w 948997"/>
                <a:gd name="connsiteY103" fmla="*/ 567752 h 948995"/>
                <a:gd name="connsiteX104" fmla="*/ 172794 w 948997"/>
                <a:gd name="connsiteY104" fmla="*/ 567752 h 948995"/>
                <a:gd name="connsiteX105" fmla="*/ 153595 w 948997"/>
                <a:gd name="connsiteY105" fmla="*/ 490954 h 948995"/>
                <a:gd name="connsiteX106" fmla="*/ 320904 w 948997"/>
                <a:gd name="connsiteY106" fmla="*/ 323646 h 948995"/>
                <a:gd name="connsiteX107" fmla="*/ 488213 w 948997"/>
                <a:gd name="connsiteY107" fmla="*/ 490954 h 948995"/>
                <a:gd name="connsiteX108" fmla="*/ 471756 w 948997"/>
                <a:gd name="connsiteY108" fmla="*/ 570495 h 948995"/>
                <a:gd name="connsiteX109" fmla="*/ 471756 w 948997"/>
                <a:gd name="connsiteY109" fmla="*/ 570495 h 948995"/>
                <a:gd name="connsiteX110" fmla="*/ 373017 w 948997"/>
                <a:gd name="connsiteY110" fmla="*/ 759745 h 948995"/>
                <a:gd name="connsiteX111" fmla="*/ 367531 w 948997"/>
                <a:gd name="connsiteY111" fmla="*/ 754260 h 948995"/>
                <a:gd name="connsiteX112" fmla="*/ 373017 w 948997"/>
                <a:gd name="connsiteY112" fmla="*/ 748774 h 948995"/>
                <a:gd name="connsiteX113" fmla="*/ 460785 w 948997"/>
                <a:gd name="connsiteY113" fmla="*/ 715861 h 948995"/>
                <a:gd name="connsiteX114" fmla="*/ 460785 w 948997"/>
                <a:gd name="connsiteY114" fmla="*/ 795401 h 948995"/>
                <a:gd name="connsiteX115" fmla="*/ 373017 w 948997"/>
                <a:gd name="connsiteY115" fmla="*/ 759745 h 948995"/>
                <a:gd name="connsiteX116" fmla="*/ 490955 w 948997"/>
                <a:gd name="connsiteY116" fmla="*/ 798144 h 948995"/>
                <a:gd name="connsiteX117" fmla="*/ 490955 w 948997"/>
                <a:gd name="connsiteY117" fmla="*/ 767973 h 948995"/>
                <a:gd name="connsiteX118" fmla="*/ 795403 w 948997"/>
                <a:gd name="connsiteY118" fmla="*/ 767973 h 948995"/>
                <a:gd name="connsiteX119" fmla="*/ 795403 w 948997"/>
                <a:gd name="connsiteY119" fmla="*/ 798144 h 948995"/>
                <a:gd name="connsiteX120" fmla="*/ 490955 w 948997"/>
                <a:gd name="connsiteY120" fmla="*/ 798144 h 948995"/>
                <a:gd name="connsiteX121" fmla="*/ 795403 w 948997"/>
                <a:gd name="connsiteY121" fmla="*/ 737803 h 948995"/>
                <a:gd name="connsiteX122" fmla="*/ 490955 w 948997"/>
                <a:gd name="connsiteY122" fmla="*/ 737803 h 948995"/>
                <a:gd name="connsiteX123" fmla="*/ 490955 w 948997"/>
                <a:gd name="connsiteY123" fmla="*/ 707633 h 948995"/>
                <a:gd name="connsiteX124" fmla="*/ 795403 w 948997"/>
                <a:gd name="connsiteY124" fmla="*/ 707633 h 948995"/>
                <a:gd name="connsiteX125" fmla="*/ 795403 w 948997"/>
                <a:gd name="connsiteY125" fmla="*/ 737803 h 948995"/>
                <a:gd name="connsiteX126" fmla="*/ 611637 w 948997"/>
                <a:gd name="connsiteY126" fmla="*/ 677462 h 948995"/>
                <a:gd name="connsiteX127" fmla="*/ 581467 w 948997"/>
                <a:gd name="connsiteY127" fmla="*/ 677462 h 948995"/>
                <a:gd name="connsiteX128" fmla="*/ 581467 w 948997"/>
                <a:gd name="connsiteY128" fmla="*/ 340102 h 948995"/>
                <a:gd name="connsiteX129" fmla="*/ 611637 w 948997"/>
                <a:gd name="connsiteY129" fmla="*/ 334617 h 948995"/>
                <a:gd name="connsiteX130" fmla="*/ 611637 w 948997"/>
                <a:gd name="connsiteY130" fmla="*/ 677462 h 948995"/>
                <a:gd name="connsiteX131" fmla="*/ 567753 w 948997"/>
                <a:gd name="connsiteY131" fmla="*/ 32913 h 948995"/>
                <a:gd name="connsiteX132" fmla="*/ 704891 w 948997"/>
                <a:gd name="connsiteY132" fmla="*/ 156337 h 948995"/>
                <a:gd name="connsiteX133" fmla="*/ 641808 w 948997"/>
                <a:gd name="connsiteY133" fmla="*/ 156337 h 948995"/>
                <a:gd name="connsiteX134" fmla="*/ 567753 w 948997"/>
                <a:gd name="connsiteY134" fmla="*/ 95997 h 948995"/>
                <a:gd name="connsiteX135" fmla="*/ 490955 w 948997"/>
                <a:gd name="connsiteY135" fmla="*/ 172794 h 948995"/>
                <a:gd name="connsiteX136" fmla="*/ 567753 w 948997"/>
                <a:gd name="connsiteY136" fmla="*/ 249591 h 948995"/>
                <a:gd name="connsiteX137" fmla="*/ 641808 w 948997"/>
                <a:gd name="connsiteY137" fmla="*/ 189250 h 948995"/>
                <a:gd name="connsiteX138" fmla="*/ 704891 w 948997"/>
                <a:gd name="connsiteY138" fmla="*/ 189250 h 948995"/>
                <a:gd name="connsiteX139" fmla="*/ 567753 w 948997"/>
                <a:gd name="connsiteY139" fmla="*/ 312675 h 948995"/>
                <a:gd name="connsiteX140" fmla="*/ 430615 w 948997"/>
                <a:gd name="connsiteY140" fmla="*/ 175537 h 948995"/>
                <a:gd name="connsiteX141" fmla="*/ 567753 w 948997"/>
                <a:gd name="connsiteY141" fmla="*/ 32913 h 948995"/>
                <a:gd name="connsiteX142" fmla="*/ 567753 w 948997"/>
                <a:gd name="connsiteY142" fmla="*/ 32913 h 948995"/>
                <a:gd name="connsiteX143" fmla="*/ 608895 w 948997"/>
                <a:gd name="connsiteY143" fmla="*/ 186508 h 948995"/>
                <a:gd name="connsiteX144" fmla="*/ 565010 w 948997"/>
                <a:gd name="connsiteY144" fmla="*/ 216678 h 948995"/>
                <a:gd name="connsiteX145" fmla="*/ 518383 w 948997"/>
                <a:gd name="connsiteY145" fmla="*/ 170051 h 948995"/>
                <a:gd name="connsiteX146" fmla="*/ 565010 w 948997"/>
                <a:gd name="connsiteY146" fmla="*/ 123424 h 948995"/>
                <a:gd name="connsiteX147" fmla="*/ 608895 w 948997"/>
                <a:gd name="connsiteY147" fmla="*/ 153594 h 948995"/>
                <a:gd name="connsiteX148" fmla="*/ 551296 w 948997"/>
                <a:gd name="connsiteY148" fmla="*/ 153594 h 948995"/>
                <a:gd name="connsiteX149" fmla="*/ 551296 w 948997"/>
                <a:gd name="connsiteY149" fmla="*/ 183765 h 948995"/>
                <a:gd name="connsiteX150" fmla="*/ 608895 w 948997"/>
                <a:gd name="connsiteY150" fmla="*/ 183765 h 948995"/>
                <a:gd name="connsiteX151" fmla="*/ 213936 w 948997"/>
                <a:gd name="connsiteY151" fmla="*/ 49370 h 948995"/>
                <a:gd name="connsiteX152" fmla="*/ 230393 w 948997"/>
                <a:gd name="connsiteY152" fmla="*/ 32913 h 948995"/>
                <a:gd name="connsiteX153" fmla="*/ 414158 w 948997"/>
                <a:gd name="connsiteY153" fmla="*/ 32913 h 948995"/>
                <a:gd name="connsiteX154" fmla="*/ 430615 w 948997"/>
                <a:gd name="connsiteY154" fmla="*/ 49370 h 948995"/>
                <a:gd name="connsiteX155" fmla="*/ 430615 w 948997"/>
                <a:gd name="connsiteY155" fmla="*/ 74054 h 948995"/>
                <a:gd name="connsiteX156" fmla="*/ 405930 w 948997"/>
                <a:gd name="connsiteY156" fmla="*/ 123424 h 948995"/>
                <a:gd name="connsiteX157" fmla="*/ 230393 w 948997"/>
                <a:gd name="connsiteY157" fmla="*/ 123424 h 948995"/>
                <a:gd name="connsiteX158" fmla="*/ 213936 w 948997"/>
                <a:gd name="connsiteY158" fmla="*/ 106968 h 948995"/>
                <a:gd name="connsiteX159" fmla="*/ 213936 w 948997"/>
                <a:gd name="connsiteY159" fmla="*/ 49370 h 948995"/>
                <a:gd name="connsiteX160" fmla="*/ 611637 w 948997"/>
                <a:gd name="connsiteY160" fmla="*/ 874941 h 948995"/>
                <a:gd name="connsiteX161" fmla="*/ 565010 w 948997"/>
                <a:gd name="connsiteY161" fmla="*/ 921568 h 948995"/>
                <a:gd name="connsiteX162" fmla="*/ 76798 w 948997"/>
                <a:gd name="connsiteY162" fmla="*/ 921568 h 948995"/>
                <a:gd name="connsiteX163" fmla="*/ 30171 w 948997"/>
                <a:gd name="connsiteY163" fmla="*/ 874941 h 948995"/>
                <a:gd name="connsiteX164" fmla="*/ 30171 w 948997"/>
                <a:gd name="connsiteY164" fmla="*/ 109710 h 948995"/>
                <a:gd name="connsiteX165" fmla="*/ 76798 w 948997"/>
                <a:gd name="connsiteY165" fmla="*/ 63084 h 948995"/>
                <a:gd name="connsiteX166" fmla="*/ 183766 w 948997"/>
                <a:gd name="connsiteY166" fmla="*/ 63084 h 948995"/>
                <a:gd name="connsiteX167" fmla="*/ 183766 w 948997"/>
                <a:gd name="connsiteY167" fmla="*/ 93254 h 948995"/>
                <a:gd name="connsiteX168" fmla="*/ 93254 w 948997"/>
                <a:gd name="connsiteY168" fmla="*/ 93254 h 948995"/>
                <a:gd name="connsiteX169" fmla="*/ 63084 w 948997"/>
                <a:gd name="connsiteY169" fmla="*/ 123424 h 948995"/>
                <a:gd name="connsiteX170" fmla="*/ 63084 w 948997"/>
                <a:gd name="connsiteY170" fmla="*/ 858485 h 948995"/>
                <a:gd name="connsiteX171" fmla="*/ 93254 w 948997"/>
                <a:gd name="connsiteY171" fmla="*/ 888655 h 948995"/>
                <a:gd name="connsiteX172" fmla="*/ 551296 w 948997"/>
                <a:gd name="connsiteY172" fmla="*/ 888655 h 948995"/>
                <a:gd name="connsiteX173" fmla="*/ 581467 w 948997"/>
                <a:gd name="connsiteY173" fmla="*/ 858485 h 948995"/>
                <a:gd name="connsiteX174" fmla="*/ 581467 w 948997"/>
                <a:gd name="connsiteY174" fmla="*/ 828314 h 948995"/>
                <a:gd name="connsiteX175" fmla="*/ 611637 w 948997"/>
                <a:gd name="connsiteY175" fmla="*/ 828314 h 948995"/>
                <a:gd name="connsiteX176" fmla="*/ 611637 w 948997"/>
                <a:gd name="connsiteY176" fmla="*/ 874941 h 948995"/>
                <a:gd name="connsiteX177" fmla="*/ 872200 w 948997"/>
                <a:gd name="connsiteY177" fmla="*/ 798144 h 948995"/>
                <a:gd name="connsiteX178" fmla="*/ 825573 w 948997"/>
                <a:gd name="connsiteY178" fmla="*/ 798144 h 948995"/>
                <a:gd name="connsiteX179" fmla="*/ 825573 w 948997"/>
                <a:gd name="connsiteY179" fmla="*/ 707633 h 948995"/>
                <a:gd name="connsiteX180" fmla="*/ 872200 w 948997"/>
                <a:gd name="connsiteY180" fmla="*/ 707633 h 948995"/>
                <a:gd name="connsiteX181" fmla="*/ 918827 w 948997"/>
                <a:gd name="connsiteY181" fmla="*/ 754260 h 948995"/>
                <a:gd name="connsiteX182" fmla="*/ 872200 w 948997"/>
                <a:gd name="connsiteY182" fmla="*/ 798144 h 948995"/>
                <a:gd name="connsiteX183" fmla="*/ 872200 w 948997"/>
                <a:gd name="connsiteY183" fmla="*/ 798144 h 9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8997" h="948995">
                  <a:moveTo>
                    <a:pt x="872200" y="677462"/>
                  </a:moveTo>
                  <a:lnTo>
                    <a:pt x="641808" y="677462"/>
                  </a:lnTo>
                  <a:lnTo>
                    <a:pt x="641808" y="320903"/>
                  </a:lnTo>
                  <a:cubicBezTo>
                    <a:pt x="647293" y="318160"/>
                    <a:pt x="652779" y="315418"/>
                    <a:pt x="658264" y="312675"/>
                  </a:cubicBezTo>
                  <a:lnTo>
                    <a:pt x="713120" y="381244"/>
                  </a:lnTo>
                  <a:cubicBezTo>
                    <a:pt x="688435" y="405929"/>
                    <a:pt x="671978" y="441584"/>
                    <a:pt x="671978" y="477240"/>
                  </a:cubicBezTo>
                  <a:cubicBezTo>
                    <a:pt x="671978" y="554038"/>
                    <a:pt x="735062" y="614379"/>
                    <a:pt x="809116" y="614379"/>
                  </a:cubicBezTo>
                  <a:cubicBezTo>
                    <a:pt x="883171" y="614379"/>
                    <a:pt x="946255" y="551295"/>
                    <a:pt x="946255" y="477240"/>
                  </a:cubicBezTo>
                  <a:cubicBezTo>
                    <a:pt x="946255" y="400443"/>
                    <a:pt x="883171" y="340102"/>
                    <a:pt x="809116" y="340102"/>
                  </a:cubicBezTo>
                  <a:cubicBezTo>
                    <a:pt x="781689" y="340102"/>
                    <a:pt x="757004" y="348331"/>
                    <a:pt x="735062" y="362045"/>
                  </a:cubicBezTo>
                  <a:lnTo>
                    <a:pt x="680206" y="293475"/>
                  </a:lnTo>
                  <a:cubicBezTo>
                    <a:pt x="707634" y="266048"/>
                    <a:pt x="726833" y="230392"/>
                    <a:pt x="732319" y="186508"/>
                  </a:cubicBezTo>
                  <a:lnTo>
                    <a:pt x="784432" y="186508"/>
                  </a:lnTo>
                  <a:lnTo>
                    <a:pt x="814602" y="246849"/>
                  </a:lnTo>
                  <a:lnTo>
                    <a:pt x="940769" y="246849"/>
                  </a:lnTo>
                  <a:lnTo>
                    <a:pt x="902371" y="170051"/>
                  </a:lnTo>
                  <a:lnTo>
                    <a:pt x="940769" y="93254"/>
                  </a:lnTo>
                  <a:lnTo>
                    <a:pt x="814602" y="93254"/>
                  </a:lnTo>
                  <a:lnTo>
                    <a:pt x="784432" y="153594"/>
                  </a:lnTo>
                  <a:lnTo>
                    <a:pt x="732319" y="153594"/>
                  </a:lnTo>
                  <a:cubicBezTo>
                    <a:pt x="724091" y="68569"/>
                    <a:pt x="652779" y="0"/>
                    <a:pt x="565010" y="0"/>
                  </a:cubicBezTo>
                  <a:cubicBezTo>
                    <a:pt x="523869" y="0"/>
                    <a:pt x="485470" y="13714"/>
                    <a:pt x="458042" y="38399"/>
                  </a:cubicBezTo>
                  <a:cubicBezTo>
                    <a:pt x="455300" y="16456"/>
                    <a:pt x="436100" y="0"/>
                    <a:pt x="414158" y="0"/>
                  </a:cubicBezTo>
                  <a:lnTo>
                    <a:pt x="230393" y="0"/>
                  </a:lnTo>
                  <a:cubicBezTo>
                    <a:pt x="211193" y="0"/>
                    <a:pt x="194737" y="13714"/>
                    <a:pt x="186508" y="30170"/>
                  </a:cubicBezTo>
                  <a:lnTo>
                    <a:pt x="76798" y="30170"/>
                  </a:lnTo>
                  <a:cubicBezTo>
                    <a:pt x="35656" y="30170"/>
                    <a:pt x="0" y="65826"/>
                    <a:pt x="0" y="106968"/>
                  </a:cubicBezTo>
                  <a:lnTo>
                    <a:pt x="0" y="872198"/>
                  </a:lnTo>
                  <a:cubicBezTo>
                    <a:pt x="0" y="913340"/>
                    <a:pt x="35656" y="948995"/>
                    <a:pt x="76798" y="948995"/>
                  </a:cubicBezTo>
                  <a:lnTo>
                    <a:pt x="565010" y="948995"/>
                  </a:lnTo>
                  <a:cubicBezTo>
                    <a:pt x="606152" y="948995"/>
                    <a:pt x="641808" y="913340"/>
                    <a:pt x="641808" y="872198"/>
                  </a:cubicBezTo>
                  <a:lnTo>
                    <a:pt x="641808" y="825571"/>
                  </a:lnTo>
                  <a:lnTo>
                    <a:pt x="872200" y="825571"/>
                  </a:lnTo>
                  <a:cubicBezTo>
                    <a:pt x="913342" y="825571"/>
                    <a:pt x="948998" y="789916"/>
                    <a:pt x="948998" y="748774"/>
                  </a:cubicBezTo>
                  <a:cubicBezTo>
                    <a:pt x="948998" y="707633"/>
                    <a:pt x="913342" y="677462"/>
                    <a:pt x="872200" y="677462"/>
                  </a:cubicBezTo>
                  <a:lnTo>
                    <a:pt x="872200" y="677462"/>
                  </a:lnTo>
                  <a:close/>
                  <a:moveTo>
                    <a:pt x="918827" y="477240"/>
                  </a:moveTo>
                  <a:cubicBezTo>
                    <a:pt x="918827" y="537581"/>
                    <a:pt x="869457" y="584208"/>
                    <a:pt x="811859" y="584208"/>
                  </a:cubicBezTo>
                  <a:cubicBezTo>
                    <a:pt x="754261" y="584208"/>
                    <a:pt x="704891" y="534839"/>
                    <a:pt x="704891" y="477240"/>
                  </a:cubicBezTo>
                  <a:cubicBezTo>
                    <a:pt x="704891" y="416900"/>
                    <a:pt x="754261" y="370273"/>
                    <a:pt x="811859" y="370273"/>
                  </a:cubicBezTo>
                  <a:cubicBezTo>
                    <a:pt x="869457" y="370273"/>
                    <a:pt x="918827" y="419643"/>
                    <a:pt x="918827" y="477240"/>
                  </a:cubicBezTo>
                  <a:lnTo>
                    <a:pt x="918827" y="477240"/>
                  </a:lnTo>
                  <a:close/>
                  <a:moveTo>
                    <a:pt x="836544" y="216678"/>
                  </a:moveTo>
                  <a:lnTo>
                    <a:pt x="820088" y="186508"/>
                  </a:lnTo>
                  <a:lnTo>
                    <a:pt x="877686" y="186508"/>
                  </a:lnTo>
                  <a:lnTo>
                    <a:pt x="894142" y="216678"/>
                  </a:lnTo>
                  <a:lnTo>
                    <a:pt x="836544" y="216678"/>
                  </a:lnTo>
                  <a:close/>
                  <a:moveTo>
                    <a:pt x="836544" y="126167"/>
                  </a:moveTo>
                  <a:lnTo>
                    <a:pt x="894142" y="126167"/>
                  </a:lnTo>
                  <a:lnTo>
                    <a:pt x="877686" y="156337"/>
                  </a:lnTo>
                  <a:lnTo>
                    <a:pt x="820088" y="156337"/>
                  </a:lnTo>
                  <a:lnTo>
                    <a:pt x="836544" y="126167"/>
                  </a:lnTo>
                  <a:close/>
                  <a:moveTo>
                    <a:pt x="186508" y="126167"/>
                  </a:moveTo>
                  <a:cubicBezTo>
                    <a:pt x="191994" y="142624"/>
                    <a:pt x="208450" y="156337"/>
                    <a:pt x="230393" y="156337"/>
                  </a:cubicBezTo>
                  <a:lnTo>
                    <a:pt x="400444" y="156337"/>
                  </a:lnTo>
                  <a:cubicBezTo>
                    <a:pt x="400444" y="161823"/>
                    <a:pt x="400444" y="167308"/>
                    <a:pt x="400444" y="172794"/>
                  </a:cubicBezTo>
                  <a:cubicBezTo>
                    <a:pt x="400444" y="222163"/>
                    <a:pt x="422386" y="266048"/>
                    <a:pt x="455300" y="296218"/>
                  </a:cubicBezTo>
                  <a:lnTo>
                    <a:pt x="430615" y="326389"/>
                  </a:lnTo>
                  <a:cubicBezTo>
                    <a:pt x="400444" y="307189"/>
                    <a:pt x="362045" y="293475"/>
                    <a:pt x="323647" y="293475"/>
                  </a:cubicBezTo>
                  <a:cubicBezTo>
                    <a:pt x="213936" y="293475"/>
                    <a:pt x="126167" y="383987"/>
                    <a:pt x="126167" y="490954"/>
                  </a:cubicBezTo>
                  <a:cubicBezTo>
                    <a:pt x="126167" y="600665"/>
                    <a:pt x="216679" y="688433"/>
                    <a:pt x="323647" y="688433"/>
                  </a:cubicBezTo>
                  <a:cubicBezTo>
                    <a:pt x="433357" y="688433"/>
                    <a:pt x="521126" y="597922"/>
                    <a:pt x="521126" y="490954"/>
                  </a:cubicBezTo>
                  <a:cubicBezTo>
                    <a:pt x="521126" y="433357"/>
                    <a:pt x="496441" y="378501"/>
                    <a:pt x="455300" y="342845"/>
                  </a:cubicBezTo>
                  <a:lnTo>
                    <a:pt x="479984" y="312675"/>
                  </a:lnTo>
                  <a:cubicBezTo>
                    <a:pt x="501927" y="326389"/>
                    <a:pt x="526611" y="334617"/>
                    <a:pt x="554039" y="337360"/>
                  </a:cubicBezTo>
                  <a:lnTo>
                    <a:pt x="554039" y="677462"/>
                  </a:lnTo>
                  <a:lnTo>
                    <a:pt x="474499" y="677462"/>
                  </a:lnTo>
                  <a:lnTo>
                    <a:pt x="364788" y="718604"/>
                  </a:lnTo>
                  <a:cubicBezTo>
                    <a:pt x="351074" y="724089"/>
                    <a:pt x="340103" y="737803"/>
                    <a:pt x="340103" y="754260"/>
                  </a:cubicBezTo>
                  <a:cubicBezTo>
                    <a:pt x="340103" y="770716"/>
                    <a:pt x="351074" y="784430"/>
                    <a:pt x="364788" y="789916"/>
                  </a:cubicBezTo>
                  <a:lnTo>
                    <a:pt x="474499" y="831057"/>
                  </a:lnTo>
                  <a:lnTo>
                    <a:pt x="554039" y="831057"/>
                  </a:lnTo>
                  <a:lnTo>
                    <a:pt x="554039" y="861227"/>
                  </a:lnTo>
                  <a:lnTo>
                    <a:pt x="93254" y="861227"/>
                  </a:lnTo>
                  <a:lnTo>
                    <a:pt x="93254" y="126167"/>
                  </a:lnTo>
                  <a:lnTo>
                    <a:pt x="186508" y="126167"/>
                  </a:lnTo>
                  <a:close/>
                  <a:moveTo>
                    <a:pt x="397701" y="570495"/>
                  </a:moveTo>
                  <a:lnTo>
                    <a:pt x="367531" y="570495"/>
                  </a:lnTo>
                  <a:lnTo>
                    <a:pt x="367531" y="447070"/>
                  </a:lnTo>
                  <a:lnTo>
                    <a:pt x="397701" y="447070"/>
                  </a:lnTo>
                  <a:lnTo>
                    <a:pt x="397701" y="570495"/>
                  </a:lnTo>
                  <a:close/>
                  <a:moveTo>
                    <a:pt x="337360" y="570495"/>
                  </a:moveTo>
                  <a:lnTo>
                    <a:pt x="307190" y="570495"/>
                  </a:lnTo>
                  <a:lnTo>
                    <a:pt x="307190" y="416900"/>
                  </a:lnTo>
                  <a:lnTo>
                    <a:pt x="337360" y="416900"/>
                  </a:lnTo>
                  <a:lnTo>
                    <a:pt x="337360" y="570495"/>
                  </a:lnTo>
                  <a:close/>
                  <a:moveTo>
                    <a:pt x="277020" y="570495"/>
                  </a:moveTo>
                  <a:lnTo>
                    <a:pt x="246849" y="570495"/>
                  </a:lnTo>
                  <a:lnTo>
                    <a:pt x="246849" y="510154"/>
                  </a:lnTo>
                  <a:lnTo>
                    <a:pt x="277020" y="510154"/>
                  </a:lnTo>
                  <a:lnTo>
                    <a:pt x="277020" y="570495"/>
                  </a:lnTo>
                  <a:close/>
                  <a:moveTo>
                    <a:pt x="452557" y="600665"/>
                  </a:moveTo>
                  <a:cubicBezTo>
                    <a:pt x="422386" y="639064"/>
                    <a:pt x="375759" y="661005"/>
                    <a:pt x="323647" y="661005"/>
                  </a:cubicBezTo>
                  <a:cubicBezTo>
                    <a:pt x="271534" y="661005"/>
                    <a:pt x="224907" y="636321"/>
                    <a:pt x="194737" y="600665"/>
                  </a:cubicBezTo>
                  <a:lnTo>
                    <a:pt x="452557" y="600665"/>
                  </a:lnTo>
                  <a:close/>
                  <a:moveTo>
                    <a:pt x="471756" y="570495"/>
                  </a:moveTo>
                  <a:lnTo>
                    <a:pt x="427872" y="570495"/>
                  </a:lnTo>
                  <a:lnTo>
                    <a:pt x="427872" y="416900"/>
                  </a:lnTo>
                  <a:lnTo>
                    <a:pt x="367531" y="416900"/>
                  </a:lnTo>
                  <a:lnTo>
                    <a:pt x="367531" y="386729"/>
                  </a:lnTo>
                  <a:lnTo>
                    <a:pt x="277020" y="386729"/>
                  </a:lnTo>
                  <a:lnTo>
                    <a:pt x="277020" y="477240"/>
                  </a:lnTo>
                  <a:lnTo>
                    <a:pt x="216679" y="477240"/>
                  </a:lnTo>
                  <a:lnTo>
                    <a:pt x="216679" y="567752"/>
                  </a:lnTo>
                  <a:lnTo>
                    <a:pt x="172794" y="567752"/>
                  </a:lnTo>
                  <a:cubicBezTo>
                    <a:pt x="161823" y="545810"/>
                    <a:pt x="153595" y="518382"/>
                    <a:pt x="153595" y="490954"/>
                  </a:cubicBezTo>
                  <a:cubicBezTo>
                    <a:pt x="153595" y="397701"/>
                    <a:pt x="230393" y="323646"/>
                    <a:pt x="320904" y="323646"/>
                  </a:cubicBezTo>
                  <a:cubicBezTo>
                    <a:pt x="411415" y="323646"/>
                    <a:pt x="488213" y="400443"/>
                    <a:pt x="488213" y="490954"/>
                  </a:cubicBezTo>
                  <a:cubicBezTo>
                    <a:pt x="490955" y="521125"/>
                    <a:pt x="482727" y="545810"/>
                    <a:pt x="471756" y="570495"/>
                  </a:cubicBezTo>
                  <a:lnTo>
                    <a:pt x="471756" y="570495"/>
                  </a:lnTo>
                  <a:close/>
                  <a:moveTo>
                    <a:pt x="373017" y="759745"/>
                  </a:moveTo>
                  <a:cubicBezTo>
                    <a:pt x="370274" y="759745"/>
                    <a:pt x="367531" y="757002"/>
                    <a:pt x="367531" y="754260"/>
                  </a:cubicBezTo>
                  <a:cubicBezTo>
                    <a:pt x="367531" y="751517"/>
                    <a:pt x="370274" y="748774"/>
                    <a:pt x="373017" y="748774"/>
                  </a:cubicBezTo>
                  <a:lnTo>
                    <a:pt x="460785" y="715861"/>
                  </a:lnTo>
                  <a:lnTo>
                    <a:pt x="460785" y="795401"/>
                  </a:lnTo>
                  <a:lnTo>
                    <a:pt x="373017" y="759745"/>
                  </a:lnTo>
                  <a:close/>
                  <a:moveTo>
                    <a:pt x="490955" y="798144"/>
                  </a:moveTo>
                  <a:lnTo>
                    <a:pt x="490955" y="767973"/>
                  </a:lnTo>
                  <a:lnTo>
                    <a:pt x="795403" y="767973"/>
                  </a:lnTo>
                  <a:lnTo>
                    <a:pt x="795403" y="798144"/>
                  </a:lnTo>
                  <a:lnTo>
                    <a:pt x="490955" y="798144"/>
                  </a:lnTo>
                  <a:close/>
                  <a:moveTo>
                    <a:pt x="795403" y="737803"/>
                  </a:moveTo>
                  <a:lnTo>
                    <a:pt x="490955" y="737803"/>
                  </a:lnTo>
                  <a:lnTo>
                    <a:pt x="490955" y="707633"/>
                  </a:lnTo>
                  <a:lnTo>
                    <a:pt x="795403" y="707633"/>
                  </a:lnTo>
                  <a:lnTo>
                    <a:pt x="795403" y="737803"/>
                  </a:lnTo>
                  <a:close/>
                  <a:moveTo>
                    <a:pt x="611637" y="677462"/>
                  </a:moveTo>
                  <a:lnTo>
                    <a:pt x="581467" y="677462"/>
                  </a:lnTo>
                  <a:lnTo>
                    <a:pt x="581467" y="340102"/>
                  </a:lnTo>
                  <a:cubicBezTo>
                    <a:pt x="592438" y="340102"/>
                    <a:pt x="603409" y="337360"/>
                    <a:pt x="611637" y="334617"/>
                  </a:cubicBezTo>
                  <a:lnTo>
                    <a:pt x="611637" y="677462"/>
                  </a:lnTo>
                  <a:close/>
                  <a:moveTo>
                    <a:pt x="567753" y="32913"/>
                  </a:moveTo>
                  <a:cubicBezTo>
                    <a:pt x="639065" y="32913"/>
                    <a:pt x="696663" y="87768"/>
                    <a:pt x="704891" y="156337"/>
                  </a:cubicBezTo>
                  <a:lnTo>
                    <a:pt x="641808" y="156337"/>
                  </a:lnTo>
                  <a:cubicBezTo>
                    <a:pt x="633579" y="120681"/>
                    <a:pt x="603409" y="95997"/>
                    <a:pt x="567753" y="95997"/>
                  </a:cubicBezTo>
                  <a:cubicBezTo>
                    <a:pt x="526611" y="95997"/>
                    <a:pt x="490955" y="131653"/>
                    <a:pt x="490955" y="172794"/>
                  </a:cubicBezTo>
                  <a:cubicBezTo>
                    <a:pt x="490955" y="213936"/>
                    <a:pt x="526611" y="249591"/>
                    <a:pt x="567753" y="249591"/>
                  </a:cubicBezTo>
                  <a:cubicBezTo>
                    <a:pt x="603409" y="249591"/>
                    <a:pt x="636322" y="222163"/>
                    <a:pt x="641808" y="189250"/>
                  </a:cubicBezTo>
                  <a:lnTo>
                    <a:pt x="704891" y="189250"/>
                  </a:lnTo>
                  <a:cubicBezTo>
                    <a:pt x="696663" y="257819"/>
                    <a:pt x="639065" y="312675"/>
                    <a:pt x="567753" y="312675"/>
                  </a:cubicBezTo>
                  <a:cubicBezTo>
                    <a:pt x="490955" y="312675"/>
                    <a:pt x="430615" y="249591"/>
                    <a:pt x="430615" y="175537"/>
                  </a:cubicBezTo>
                  <a:cubicBezTo>
                    <a:pt x="427872" y="95997"/>
                    <a:pt x="490955" y="32913"/>
                    <a:pt x="567753" y="32913"/>
                  </a:cubicBezTo>
                  <a:lnTo>
                    <a:pt x="567753" y="32913"/>
                  </a:lnTo>
                  <a:close/>
                  <a:moveTo>
                    <a:pt x="608895" y="186508"/>
                  </a:moveTo>
                  <a:cubicBezTo>
                    <a:pt x="603409" y="202964"/>
                    <a:pt x="586952" y="216678"/>
                    <a:pt x="565010" y="216678"/>
                  </a:cubicBezTo>
                  <a:cubicBezTo>
                    <a:pt x="540325" y="216678"/>
                    <a:pt x="518383" y="194736"/>
                    <a:pt x="518383" y="170051"/>
                  </a:cubicBezTo>
                  <a:cubicBezTo>
                    <a:pt x="518383" y="145366"/>
                    <a:pt x="540325" y="123424"/>
                    <a:pt x="565010" y="123424"/>
                  </a:cubicBezTo>
                  <a:cubicBezTo>
                    <a:pt x="584210" y="123424"/>
                    <a:pt x="600666" y="137138"/>
                    <a:pt x="608895" y="153594"/>
                  </a:cubicBezTo>
                  <a:lnTo>
                    <a:pt x="551296" y="153594"/>
                  </a:lnTo>
                  <a:lnTo>
                    <a:pt x="551296" y="183765"/>
                  </a:lnTo>
                  <a:lnTo>
                    <a:pt x="608895" y="183765"/>
                  </a:lnTo>
                  <a:close/>
                  <a:moveTo>
                    <a:pt x="213936" y="49370"/>
                  </a:moveTo>
                  <a:cubicBezTo>
                    <a:pt x="213936" y="41141"/>
                    <a:pt x="219421" y="32913"/>
                    <a:pt x="230393" y="32913"/>
                  </a:cubicBezTo>
                  <a:lnTo>
                    <a:pt x="414158" y="32913"/>
                  </a:lnTo>
                  <a:cubicBezTo>
                    <a:pt x="422386" y="32913"/>
                    <a:pt x="430615" y="41141"/>
                    <a:pt x="430615" y="49370"/>
                  </a:cubicBezTo>
                  <a:lnTo>
                    <a:pt x="430615" y="74054"/>
                  </a:lnTo>
                  <a:cubicBezTo>
                    <a:pt x="419644" y="90511"/>
                    <a:pt x="411415" y="106968"/>
                    <a:pt x="405930" y="123424"/>
                  </a:cubicBezTo>
                  <a:lnTo>
                    <a:pt x="230393" y="123424"/>
                  </a:lnTo>
                  <a:cubicBezTo>
                    <a:pt x="222164" y="123424"/>
                    <a:pt x="213936" y="115196"/>
                    <a:pt x="213936" y="106968"/>
                  </a:cubicBezTo>
                  <a:lnTo>
                    <a:pt x="213936" y="49370"/>
                  </a:lnTo>
                  <a:close/>
                  <a:moveTo>
                    <a:pt x="611637" y="874941"/>
                  </a:moveTo>
                  <a:cubicBezTo>
                    <a:pt x="611637" y="899626"/>
                    <a:pt x="589695" y="921568"/>
                    <a:pt x="565010" y="921568"/>
                  </a:cubicBezTo>
                  <a:lnTo>
                    <a:pt x="76798" y="921568"/>
                  </a:lnTo>
                  <a:cubicBezTo>
                    <a:pt x="52113" y="921568"/>
                    <a:pt x="30171" y="899626"/>
                    <a:pt x="30171" y="874941"/>
                  </a:cubicBezTo>
                  <a:lnTo>
                    <a:pt x="30171" y="109710"/>
                  </a:lnTo>
                  <a:cubicBezTo>
                    <a:pt x="30171" y="85025"/>
                    <a:pt x="52113" y="63084"/>
                    <a:pt x="76798" y="63084"/>
                  </a:cubicBezTo>
                  <a:lnTo>
                    <a:pt x="183766" y="63084"/>
                  </a:lnTo>
                  <a:lnTo>
                    <a:pt x="183766" y="93254"/>
                  </a:lnTo>
                  <a:lnTo>
                    <a:pt x="93254" y="93254"/>
                  </a:lnTo>
                  <a:cubicBezTo>
                    <a:pt x="76798" y="93254"/>
                    <a:pt x="63084" y="106968"/>
                    <a:pt x="63084" y="123424"/>
                  </a:cubicBezTo>
                  <a:lnTo>
                    <a:pt x="63084" y="858485"/>
                  </a:lnTo>
                  <a:cubicBezTo>
                    <a:pt x="63084" y="874941"/>
                    <a:pt x="76798" y="888655"/>
                    <a:pt x="93254" y="888655"/>
                  </a:cubicBezTo>
                  <a:lnTo>
                    <a:pt x="551296" y="888655"/>
                  </a:lnTo>
                  <a:cubicBezTo>
                    <a:pt x="567753" y="888655"/>
                    <a:pt x="581467" y="874941"/>
                    <a:pt x="581467" y="858485"/>
                  </a:cubicBezTo>
                  <a:lnTo>
                    <a:pt x="581467" y="828314"/>
                  </a:lnTo>
                  <a:lnTo>
                    <a:pt x="611637" y="828314"/>
                  </a:lnTo>
                  <a:lnTo>
                    <a:pt x="611637" y="874941"/>
                  </a:lnTo>
                  <a:close/>
                  <a:moveTo>
                    <a:pt x="872200" y="798144"/>
                  </a:moveTo>
                  <a:lnTo>
                    <a:pt x="825573" y="798144"/>
                  </a:lnTo>
                  <a:lnTo>
                    <a:pt x="825573" y="707633"/>
                  </a:lnTo>
                  <a:lnTo>
                    <a:pt x="872200" y="707633"/>
                  </a:lnTo>
                  <a:cubicBezTo>
                    <a:pt x="896885" y="707633"/>
                    <a:pt x="918827" y="729575"/>
                    <a:pt x="918827" y="754260"/>
                  </a:cubicBezTo>
                  <a:cubicBezTo>
                    <a:pt x="918827" y="778944"/>
                    <a:pt x="896885" y="798144"/>
                    <a:pt x="872200" y="798144"/>
                  </a:cubicBezTo>
                  <a:lnTo>
                    <a:pt x="872200" y="798144"/>
                  </a:lnTo>
                  <a:close/>
                </a:path>
              </a:pathLst>
            </a:custGeom>
            <a:grpFill/>
            <a:ln w="27426" cap="flat">
              <a:noFill/>
              <a:prstDash val="solid"/>
              <a:miter/>
            </a:ln>
          </p:spPr>
          <p:txBody>
            <a:bodyPr rtlCol="0" anchor="ctr"/>
            <a:lstStyle/>
            <a:p>
              <a:endParaRPr lang="en-US"/>
            </a:p>
          </p:txBody>
        </p:sp>
        <p:sp>
          <p:nvSpPr>
            <p:cNvPr id="6" name="Freeform 1465">
              <a:extLst>
                <a:ext uri="{FF2B5EF4-FFF2-40B4-BE49-F238E27FC236}">
                  <a16:creationId xmlns:a16="http://schemas.microsoft.com/office/drawing/2014/main" id="{2A030BB9-4238-1639-46E1-C07CF8C7DFEC}"/>
                </a:ext>
              </a:extLst>
            </p:cNvPr>
            <p:cNvSpPr/>
            <p:nvPr/>
          </p:nvSpPr>
          <p:spPr>
            <a:xfrm>
              <a:off x="1400461" y="4233868"/>
              <a:ext cx="156337" cy="153594"/>
            </a:xfrm>
            <a:custGeom>
              <a:avLst/>
              <a:gdLst>
                <a:gd name="connsiteX0" fmla="*/ 0 w 156337"/>
                <a:gd name="connsiteY0" fmla="*/ 112453 h 153594"/>
                <a:gd name="connsiteX1" fmla="*/ 41142 w 156337"/>
                <a:gd name="connsiteY1" fmla="*/ 153595 h 153594"/>
                <a:gd name="connsiteX2" fmla="*/ 60341 w 156337"/>
                <a:gd name="connsiteY2" fmla="*/ 148109 h 153594"/>
                <a:gd name="connsiteX3" fmla="*/ 134396 w 156337"/>
                <a:gd name="connsiteY3" fmla="*/ 112453 h 153594"/>
                <a:gd name="connsiteX4" fmla="*/ 156338 w 156337"/>
                <a:gd name="connsiteY4" fmla="*/ 76797 h 153594"/>
                <a:gd name="connsiteX5" fmla="*/ 134396 w 156337"/>
                <a:gd name="connsiteY5" fmla="*/ 41141 h 153594"/>
                <a:gd name="connsiteX6" fmla="*/ 60341 w 156337"/>
                <a:gd name="connsiteY6" fmla="*/ 5486 h 153594"/>
                <a:gd name="connsiteX7" fmla="*/ 41142 w 156337"/>
                <a:gd name="connsiteY7" fmla="*/ 0 h 153594"/>
                <a:gd name="connsiteX8" fmla="*/ 0 w 156337"/>
                <a:gd name="connsiteY8" fmla="*/ 41141 h 153594"/>
                <a:gd name="connsiteX9" fmla="*/ 0 w 156337"/>
                <a:gd name="connsiteY9" fmla="*/ 112453 h 153594"/>
                <a:gd name="connsiteX10" fmla="*/ 30170 w 156337"/>
                <a:gd name="connsiteY10" fmla="*/ 41141 h 153594"/>
                <a:gd name="connsiteX11" fmla="*/ 38399 w 156337"/>
                <a:gd name="connsiteY11" fmla="*/ 32913 h 153594"/>
                <a:gd name="connsiteX12" fmla="*/ 43884 w 156337"/>
                <a:gd name="connsiteY12" fmla="*/ 32913 h 153594"/>
                <a:gd name="connsiteX13" fmla="*/ 117939 w 156337"/>
                <a:gd name="connsiteY13" fmla="*/ 68569 h 153594"/>
                <a:gd name="connsiteX14" fmla="*/ 123425 w 156337"/>
                <a:gd name="connsiteY14" fmla="*/ 76797 h 153594"/>
                <a:gd name="connsiteX15" fmla="*/ 117939 w 156337"/>
                <a:gd name="connsiteY15" fmla="*/ 85026 h 153594"/>
                <a:gd name="connsiteX16" fmla="*/ 43884 w 156337"/>
                <a:gd name="connsiteY16" fmla="*/ 120682 h 153594"/>
                <a:gd name="connsiteX17" fmla="*/ 30170 w 156337"/>
                <a:gd name="connsiteY17" fmla="*/ 112453 h 153594"/>
                <a:gd name="connsiteX18" fmla="*/ 30170 w 156337"/>
                <a:gd name="connsiteY18" fmla="*/ 41141 h 15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6337" h="153594">
                  <a:moveTo>
                    <a:pt x="0" y="112453"/>
                  </a:moveTo>
                  <a:cubicBezTo>
                    <a:pt x="0" y="134396"/>
                    <a:pt x="19199" y="153595"/>
                    <a:pt x="41142" y="153595"/>
                  </a:cubicBezTo>
                  <a:cubicBezTo>
                    <a:pt x="46627" y="153595"/>
                    <a:pt x="54855" y="150852"/>
                    <a:pt x="60341" y="148109"/>
                  </a:cubicBezTo>
                  <a:lnTo>
                    <a:pt x="134396" y="112453"/>
                  </a:lnTo>
                  <a:cubicBezTo>
                    <a:pt x="148109" y="106968"/>
                    <a:pt x="156338" y="93254"/>
                    <a:pt x="156338" y="76797"/>
                  </a:cubicBezTo>
                  <a:cubicBezTo>
                    <a:pt x="156338" y="60341"/>
                    <a:pt x="148109" y="46627"/>
                    <a:pt x="134396" y="41141"/>
                  </a:cubicBezTo>
                  <a:lnTo>
                    <a:pt x="60341" y="5486"/>
                  </a:lnTo>
                  <a:cubicBezTo>
                    <a:pt x="54855" y="2743"/>
                    <a:pt x="49370" y="0"/>
                    <a:pt x="41142" y="0"/>
                  </a:cubicBezTo>
                  <a:cubicBezTo>
                    <a:pt x="19199" y="0"/>
                    <a:pt x="0" y="19200"/>
                    <a:pt x="0" y="41141"/>
                  </a:cubicBezTo>
                  <a:lnTo>
                    <a:pt x="0" y="112453"/>
                  </a:lnTo>
                  <a:close/>
                  <a:moveTo>
                    <a:pt x="30170" y="41141"/>
                  </a:moveTo>
                  <a:cubicBezTo>
                    <a:pt x="30170" y="35656"/>
                    <a:pt x="35656" y="32913"/>
                    <a:pt x="38399" y="32913"/>
                  </a:cubicBezTo>
                  <a:cubicBezTo>
                    <a:pt x="41142" y="32913"/>
                    <a:pt x="41142" y="32913"/>
                    <a:pt x="43884" y="32913"/>
                  </a:cubicBezTo>
                  <a:lnTo>
                    <a:pt x="117939" y="68569"/>
                  </a:lnTo>
                  <a:cubicBezTo>
                    <a:pt x="120682" y="71312"/>
                    <a:pt x="123425" y="74055"/>
                    <a:pt x="123425" y="76797"/>
                  </a:cubicBezTo>
                  <a:cubicBezTo>
                    <a:pt x="123425" y="79540"/>
                    <a:pt x="120682" y="82283"/>
                    <a:pt x="117939" y="85026"/>
                  </a:cubicBezTo>
                  <a:lnTo>
                    <a:pt x="43884" y="120682"/>
                  </a:lnTo>
                  <a:cubicBezTo>
                    <a:pt x="38399" y="123424"/>
                    <a:pt x="30170" y="117939"/>
                    <a:pt x="30170" y="112453"/>
                  </a:cubicBezTo>
                  <a:lnTo>
                    <a:pt x="30170" y="41141"/>
                  </a:lnTo>
                  <a:close/>
                </a:path>
              </a:pathLst>
            </a:custGeom>
            <a:grpFill/>
            <a:ln w="27426" cap="flat">
              <a:noFill/>
              <a:prstDash val="solid"/>
              <a:miter/>
            </a:ln>
          </p:spPr>
          <p:txBody>
            <a:bodyPr rtlCol="0" anchor="ctr"/>
            <a:lstStyle/>
            <a:p>
              <a:endParaRPr lang="en-US"/>
            </a:p>
          </p:txBody>
        </p:sp>
        <p:grpSp>
          <p:nvGrpSpPr>
            <p:cNvPr id="7" name="Graphic 3">
              <a:extLst>
                <a:ext uri="{FF2B5EF4-FFF2-40B4-BE49-F238E27FC236}">
                  <a16:creationId xmlns:a16="http://schemas.microsoft.com/office/drawing/2014/main" id="{865DA0BF-2C75-9881-5FA3-55DBE192509D}"/>
                </a:ext>
              </a:extLst>
            </p:cNvPr>
            <p:cNvGrpSpPr/>
            <p:nvPr/>
          </p:nvGrpSpPr>
          <p:grpSpPr>
            <a:xfrm>
              <a:off x="788824" y="4019932"/>
              <a:ext cx="244106" cy="641806"/>
              <a:chOff x="788824" y="4019932"/>
              <a:chExt cx="244106" cy="641806"/>
            </a:xfrm>
            <a:grpFill/>
          </p:grpSpPr>
          <p:sp>
            <p:nvSpPr>
              <p:cNvPr id="8" name="Freeform 1467">
                <a:extLst>
                  <a:ext uri="{FF2B5EF4-FFF2-40B4-BE49-F238E27FC236}">
                    <a16:creationId xmlns:a16="http://schemas.microsoft.com/office/drawing/2014/main" id="{D3807EB1-8A2C-39D7-24D7-DFC02A9A6472}"/>
                  </a:ext>
                </a:extLst>
              </p:cNvPr>
              <p:cNvSpPr/>
              <p:nvPr/>
            </p:nvSpPr>
            <p:spPr>
              <a:xfrm>
                <a:off x="788824" y="4571228"/>
                <a:ext cx="183765" cy="30170"/>
              </a:xfrm>
              <a:custGeom>
                <a:avLst/>
                <a:gdLst>
                  <a:gd name="connsiteX0" fmla="*/ 0 w 183765"/>
                  <a:gd name="connsiteY0" fmla="*/ 0 h 30170"/>
                  <a:gd name="connsiteX1" fmla="*/ 183765 w 183765"/>
                  <a:gd name="connsiteY1" fmla="*/ 0 h 30170"/>
                  <a:gd name="connsiteX2" fmla="*/ 183765 w 183765"/>
                  <a:gd name="connsiteY2" fmla="*/ 30170 h 30170"/>
                  <a:gd name="connsiteX3" fmla="*/ 0 w 183765"/>
                  <a:gd name="connsiteY3" fmla="*/ 30170 h 30170"/>
                </a:gdLst>
                <a:ahLst/>
                <a:cxnLst>
                  <a:cxn ang="0">
                    <a:pos x="connsiteX0" y="connsiteY0"/>
                  </a:cxn>
                  <a:cxn ang="0">
                    <a:pos x="connsiteX1" y="connsiteY1"/>
                  </a:cxn>
                  <a:cxn ang="0">
                    <a:pos x="connsiteX2" y="connsiteY2"/>
                  </a:cxn>
                  <a:cxn ang="0">
                    <a:pos x="connsiteX3" y="connsiteY3"/>
                  </a:cxn>
                </a:cxnLst>
                <a:rect l="l" t="t" r="r" b="b"/>
                <a:pathLst>
                  <a:path w="183765" h="30170">
                    <a:moveTo>
                      <a:pt x="0" y="0"/>
                    </a:moveTo>
                    <a:lnTo>
                      <a:pt x="183765" y="0"/>
                    </a:lnTo>
                    <a:lnTo>
                      <a:pt x="183765" y="30170"/>
                    </a:lnTo>
                    <a:lnTo>
                      <a:pt x="0" y="30170"/>
                    </a:lnTo>
                    <a:close/>
                  </a:path>
                </a:pathLst>
              </a:custGeom>
              <a:solidFill>
                <a:srgbClr val="F36C2F"/>
              </a:solidFill>
              <a:ln w="27426" cap="flat">
                <a:noFill/>
                <a:prstDash val="solid"/>
                <a:miter/>
              </a:ln>
            </p:spPr>
            <p:txBody>
              <a:bodyPr rtlCol="0" anchor="ctr"/>
              <a:lstStyle/>
              <a:p>
                <a:endParaRPr lang="en-US"/>
              </a:p>
            </p:txBody>
          </p:sp>
          <p:sp>
            <p:nvSpPr>
              <p:cNvPr id="9" name="Freeform 1468">
                <a:extLst>
                  <a:ext uri="{FF2B5EF4-FFF2-40B4-BE49-F238E27FC236}">
                    <a16:creationId xmlns:a16="http://schemas.microsoft.com/office/drawing/2014/main" id="{6FA4DFDA-4C62-4747-49D9-3DC62114096F}"/>
                  </a:ext>
                </a:extLst>
              </p:cNvPr>
              <p:cNvSpPr/>
              <p:nvPr/>
            </p:nvSpPr>
            <p:spPr>
              <a:xfrm>
                <a:off x="788824" y="4631568"/>
                <a:ext cx="183765" cy="30170"/>
              </a:xfrm>
              <a:custGeom>
                <a:avLst/>
                <a:gdLst>
                  <a:gd name="connsiteX0" fmla="*/ 0 w 183765"/>
                  <a:gd name="connsiteY0" fmla="*/ 0 h 30170"/>
                  <a:gd name="connsiteX1" fmla="*/ 183765 w 183765"/>
                  <a:gd name="connsiteY1" fmla="*/ 0 h 30170"/>
                  <a:gd name="connsiteX2" fmla="*/ 183765 w 183765"/>
                  <a:gd name="connsiteY2" fmla="*/ 30170 h 30170"/>
                  <a:gd name="connsiteX3" fmla="*/ 0 w 183765"/>
                  <a:gd name="connsiteY3" fmla="*/ 30170 h 30170"/>
                </a:gdLst>
                <a:ahLst/>
                <a:cxnLst>
                  <a:cxn ang="0">
                    <a:pos x="connsiteX0" y="connsiteY0"/>
                  </a:cxn>
                  <a:cxn ang="0">
                    <a:pos x="connsiteX1" y="connsiteY1"/>
                  </a:cxn>
                  <a:cxn ang="0">
                    <a:pos x="connsiteX2" y="connsiteY2"/>
                  </a:cxn>
                  <a:cxn ang="0">
                    <a:pos x="connsiteX3" y="connsiteY3"/>
                  </a:cxn>
                </a:cxnLst>
                <a:rect l="l" t="t" r="r" b="b"/>
                <a:pathLst>
                  <a:path w="183765" h="30170">
                    <a:moveTo>
                      <a:pt x="0" y="0"/>
                    </a:moveTo>
                    <a:lnTo>
                      <a:pt x="183765" y="0"/>
                    </a:lnTo>
                    <a:lnTo>
                      <a:pt x="183765" y="30170"/>
                    </a:lnTo>
                    <a:lnTo>
                      <a:pt x="0" y="30170"/>
                    </a:lnTo>
                    <a:close/>
                  </a:path>
                </a:pathLst>
              </a:custGeom>
              <a:solidFill>
                <a:srgbClr val="F36C2F"/>
              </a:solidFill>
              <a:ln w="27426" cap="flat">
                <a:noFill/>
                <a:prstDash val="solid"/>
                <a:miter/>
              </a:ln>
            </p:spPr>
            <p:txBody>
              <a:bodyPr rtlCol="0" anchor="ctr"/>
              <a:lstStyle/>
              <a:p>
                <a:endParaRPr lang="en-US"/>
              </a:p>
            </p:txBody>
          </p:sp>
          <p:sp>
            <p:nvSpPr>
              <p:cNvPr id="10" name="Freeform 1469">
                <a:extLst>
                  <a:ext uri="{FF2B5EF4-FFF2-40B4-BE49-F238E27FC236}">
                    <a16:creationId xmlns:a16="http://schemas.microsoft.com/office/drawing/2014/main" id="{7B62F11B-2ADB-73D6-931C-1FD41373BEB3}"/>
                  </a:ext>
                </a:extLst>
              </p:cNvPr>
              <p:cNvSpPr/>
              <p:nvPr/>
            </p:nvSpPr>
            <p:spPr>
              <a:xfrm>
                <a:off x="788824" y="4019932"/>
                <a:ext cx="30170" cy="30170"/>
              </a:xfrm>
              <a:custGeom>
                <a:avLst/>
                <a:gdLst>
                  <a:gd name="connsiteX0" fmla="*/ 0 w 30170"/>
                  <a:gd name="connsiteY0" fmla="*/ 0 h 30170"/>
                  <a:gd name="connsiteX1" fmla="*/ 30170 w 30170"/>
                  <a:gd name="connsiteY1" fmla="*/ 0 h 30170"/>
                  <a:gd name="connsiteX2" fmla="*/ 30170 w 30170"/>
                  <a:gd name="connsiteY2" fmla="*/ 30171 h 30170"/>
                  <a:gd name="connsiteX3" fmla="*/ 0 w 30170"/>
                  <a:gd name="connsiteY3" fmla="*/ 30171 h 30170"/>
                </a:gdLst>
                <a:ahLst/>
                <a:cxnLst>
                  <a:cxn ang="0">
                    <a:pos x="connsiteX0" y="connsiteY0"/>
                  </a:cxn>
                  <a:cxn ang="0">
                    <a:pos x="connsiteX1" y="connsiteY1"/>
                  </a:cxn>
                  <a:cxn ang="0">
                    <a:pos x="connsiteX2" y="connsiteY2"/>
                  </a:cxn>
                  <a:cxn ang="0">
                    <a:pos x="connsiteX3" y="connsiteY3"/>
                  </a:cxn>
                </a:cxnLst>
                <a:rect l="l" t="t" r="r" b="b"/>
                <a:pathLst>
                  <a:path w="30170" h="30170">
                    <a:moveTo>
                      <a:pt x="0" y="0"/>
                    </a:moveTo>
                    <a:lnTo>
                      <a:pt x="30170" y="0"/>
                    </a:lnTo>
                    <a:lnTo>
                      <a:pt x="30170" y="30171"/>
                    </a:lnTo>
                    <a:lnTo>
                      <a:pt x="0" y="30171"/>
                    </a:lnTo>
                    <a:close/>
                  </a:path>
                </a:pathLst>
              </a:custGeom>
              <a:grpFill/>
              <a:ln w="27426" cap="flat">
                <a:noFill/>
                <a:prstDash val="solid"/>
                <a:miter/>
              </a:ln>
            </p:spPr>
            <p:txBody>
              <a:bodyPr rtlCol="0" anchor="ctr"/>
              <a:lstStyle/>
              <a:p>
                <a:endParaRPr lang="en-US"/>
              </a:p>
            </p:txBody>
          </p:sp>
          <p:sp>
            <p:nvSpPr>
              <p:cNvPr id="11" name="Freeform 1470">
                <a:extLst>
                  <a:ext uri="{FF2B5EF4-FFF2-40B4-BE49-F238E27FC236}">
                    <a16:creationId xmlns:a16="http://schemas.microsoft.com/office/drawing/2014/main" id="{4AD5D0EF-399C-2B43-AF91-22EC60EB74E1}"/>
                  </a:ext>
                </a:extLst>
              </p:cNvPr>
              <p:cNvSpPr/>
              <p:nvPr/>
            </p:nvSpPr>
            <p:spPr>
              <a:xfrm>
                <a:off x="849165" y="4019932"/>
                <a:ext cx="183765" cy="30170"/>
              </a:xfrm>
              <a:custGeom>
                <a:avLst/>
                <a:gdLst>
                  <a:gd name="connsiteX0" fmla="*/ 0 w 183765"/>
                  <a:gd name="connsiteY0" fmla="*/ 0 h 30170"/>
                  <a:gd name="connsiteX1" fmla="*/ 183765 w 183765"/>
                  <a:gd name="connsiteY1" fmla="*/ 0 h 30170"/>
                  <a:gd name="connsiteX2" fmla="*/ 183765 w 183765"/>
                  <a:gd name="connsiteY2" fmla="*/ 30171 h 30170"/>
                  <a:gd name="connsiteX3" fmla="*/ 0 w 183765"/>
                  <a:gd name="connsiteY3" fmla="*/ 30171 h 30170"/>
                </a:gdLst>
                <a:ahLst/>
                <a:cxnLst>
                  <a:cxn ang="0">
                    <a:pos x="connsiteX0" y="connsiteY0"/>
                  </a:cxn>
                  <a:cxn ang="0">
                    <a:pos x="connsiteX1" y="connsiteY1"/>
                  </a:cxn>
                  <a:cxn ang="0">
                    <a:pos x="connsiteX2" y="connsiteY2"/>
                  </a:cxn>
                  <a:cxn ang="0">
                    <a:pos x="connsiteX3" y="connsiteY3"/>
                  </a:cxn>
                </a:cxnLst>
                <a:rect l="l" t="t" r="r" b="b"/>
                <a:pathLst>
                  <a:path w="183765" h="30170">
                    <a:moveTo>
                      <a:pt x="0" y="0"/>
                    </a:moveTo>
                    <a:lnTo>
                      <a:pt x="183765" y="0"/>
                    </a:lnTo>
                    <a:lnTo>
                      <a:pt x="183765" y="30171"/>
                    </a:lnTo>
                    <a:lnTo>
                      <a:pt x="0" y="30171"/>
                    </a:lnTo>
                    <a:close/>
                  </a:path>
                </a:pathLst>
              </a:custGeom>
              <a:solidFill>
                <a:srgbClr val="F36C2F"/>
              </a:solidFill>
              <a:ln w="27426" cap="flat">
                <a:noFill/>
                <a:prstDash val="solid"/>
                <a:miter/>
              </a:ln>
            </p:spPr>
            <p:txBody>
              <a:bodyPr rtlCol="0" anchor="ctr"/>
              <a:lstStyle/>
              <a:p>
                <a:endParaRPr lang="en-US"/>
              </a:p>
            </p:txBody>
          </p:sp>
          <p:sp>
            <p:nvSpPr>
              <p:cNvPr id="12" name="Freeform 1471">
                <a:extLst>
                  <a:ext uri="{FF2B5EF4-FFF2-40B4-BE49-F238E27FC236}">
                    <a16:creationId xmlns:a16="http://schemas.microsoft.com/office/drawing/2014/main" id="{FB096563-256E-1BCC-CB12-A379FA7F8D5D}"/>
                  </a:ext>
                </a:extLst>
              </p:cNvPr>
              <p:cNvSpPr/>
              <p:nvPr/>
            </p:nvSpPr>
            <p:spPr>
              <a:xfrm>
                <a:off x="788824" y="4080273"/>
                <a:ext cx="30170" cy="30170"/>
              </a:xfrm>
              <a:custGeom>
                <a:avLst/>
                <a:gdLst>
                  <a:gd name="connsiteX0" fmla="*/ 0 w 30170"/>
                  <a:gd name="connsiteY0" fmla="*/ 0 h 30170"/>
                  <a:gd name="connsiteX1" fmla="*/ 30170 w 30170"/>
                  <a:gd name="connsiteY1" fmla="*/ 0 h 30170"/>
                  <a:gd name="connsiteX2" fmla="*/ 30170 w 30170"/>
                  <a:gd name="connsiteY2" fmla="*/ 30171 h 30170"/>
                  <a:gd name="connsiteX3" fmla="*/ 0 w 30170"/>
                  <a:gd name="connsiteY3" fmla="*/ 30171 h 30170"/>
                </a:gdLst>
                <a:ahLst/>
                <a:cxnLst>
                  <a:cxn ang="0">
                    <a:pos x="connsiteX0" y="connsiteY0"/>
                  </a:cxn>
                  <a:cxn ang="0">
                    <a:pos x="connsiteX1" y="connsiteY1"/>
                  </a:cxn>
                  <a:cxn ang="0">
                    <a:pos x="connsiteX2" y="connsiteY2"/>
                  </a:cxn>
                  <a:cxn ang="0">
                    <a:pos x="connsiteX3" y="connsiteY3"/>
                  </a:cxn>
                </a:cxnLst>
                <a:rect l="l" t="t" r="r" b="b"/>
                <a:pathLst>
                  <a:path w="30170" h="30170">
                    <a:moveTo>
                      <a:pt x="0" y="0"/>
                    </a:moveTo>
                    <a:lnTo>
                      <a:pt x="30170" y="0"/>
                    </a:lnTo>
                    <a:lnTo>
                      <a:pt x="30170" y="30171"/>
                    </a:lnTo>
                    <a:lnTo>
                      <a:pt x="0" y="30171"/>
                    </a:lnTo>
                    <a:close/>
                  </a:path>
                </a:pathLst>
              </a:custGeom>
              <a:grpFill/>
              <a:ln w="27426" cap="flat">
                <a:noFill/>
                <a:prstDash val="solid"/>
                <a:miter/>
              </a:ln>
            </p:spPr>
            <p:txBody>
              <a:bodyPr rtlCol="0" anchor="ctr"/>
              <a:lstStyle/>
              <a:p>
                <a:endParaRPr lang="en-US"/>
              </a:p>
            </p:txBody>
          </p:sp>
          <p:sp>
            <p:nvSpPr>
              <p:cNvPr id="13" name="Freeform 1472">
                <a:extLst>
                  <a:ext uri="{FF2B5EF4-FFF2-40B4-BE49-F238E27FC236}">
                    <a16:creationId xmlns:a16="http://schemas.microsoft.com/office/drawing/2014/main" id="{9180AB01-592F-1059-4B84-BD3ECF5DABC8}"/>
                  </a:ext>
                </a:extLst>
              </p:cNvPr>
              <p:cNvSpPr/>
              <p:nvPr/>
            </p:nvSpPr>
            <p:spPr>
              <a:xfrm>
                <a:off x="849165" y="4080273"/>
                <a:ext cx="183765" cy="30170"/>
              </a:xfrm>
              <a:custGeom>
                <a:avLst/>
                <a:gdLst>
                  <a:gd name="connsiteX0" fmla="*/ 0 w 183765"/>
                  <a:gd name="connsiteY0" fmla="*/ 0 h 30170"/>
                  <a:gd name="connsiteX1" fmla="*/ 183765 w 183765"/>
                  <a:gd name="connsiteY1" fmla="*/ 0 h 30170"/>
                  <a:gd name="connsiteX2" fmla="*/ 183765 w 183765"/>
                  <a:gd name="connsiteY2" fmla="*/ 30171 h 30170"/>
                  <a:gd name="connsiteX3" fmla="*/ 0 w 183765"/>
                  <a:gd name="connsiteY3" fmla="*/ 30171 h 30170"/>
                </a:gdLst>
                <a:ahLst/>
                <a:cxnLst>
                  <a:cxn ang="0">
                    <a:pos x="connsiteX0" y="connsiteY0"/>
                  </a:cxn>
                  <a:cxn ang="0">
                    <a:pos x="connsiteX1" y="connsiteY1"/>
                  </a:cxn>
                  <a:cxn ang="0">
                    <a:pos x="connsiteX2" y="connsiteY2"/>
                  </a:cxn>
                  <a:cxn ang="0">
                    <a:pos x="connsiteX3" y="connsiteY3"/>
                  </a:cxn>
                </a:cxnLst>
                <a:rect l="l" t="t" r="r" b="b"/>
                <a:pathLst>
                  <a:path w="183765" h="30170">
                    <a:moveTo>
                      <a:pt x="0" y="0"/>
                    </a:moveTo>
                    <a:lnTo>
                      <a:pt x="183765" y="0"/>
                    </a:lnTo>
                    <a:lnTo>
                      <a:pt x="183765" y="30171"/>
                    </a:lnTo>
                    <a:lnTo>
                      <a:pt x="0" y="30171"/>
                    </a:lnTo>
                    <a:close/>
                  </a:path>
                </a:pathLst>
              </a:custGeom>
              <a:solidFill>
                <a:srgbClr val="F36C2F"/>
              </a:solid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468954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44107E-FEF0-78A2-D7CC-C6FF71C1D721}"/>
              </a:ext>
            </a:extLst>
          </p:cNvPr>
          <p:cNvSpPr>
            <a:spLocks noGrp="1"/>
          </p:cNvSpPr>
          <p:nvPr>
            <p:ph type="body" sz="quarter" idx="49"/>
          </p:nvPr>
        </p:nvSpPr>
        <p:spPr>
          <a:xfrm>
            <a:off x="3582472" y="246780"/>
            <a:ext cx="7160276" cy="730066"/>
          </a:xfrm>
        </p:spPr>
        <p:txBody>
          <a:bodyPr/>
          <a:lstStyle/>
          <a:p>
            <a:r>
              <a:rPr lang="en-GB" sz="3000" dirty="0"/>
              <a:t>Datenerhebung</a:t>
            </a:r>
            <a:endParaRPr lang="en-IE" sz="3000" dirty="0"/>
          </a:p>
        </p:txBody>
      </p:sp>
      <p:sp>
        <p:nvSpPr>
          <p:cNvPr id="3" name="Text Placeholder 2">
            <a:extLst>
              <a:ext uri="{FF2B5EF4-FFF2-40B4-BE49-F238E27FC236}">
                <a16:creationId xmlns:a16="http://schemas.microsoft.com/office/drawing/2014/main" id="{C6428DBF-4CF3-F60C-EA47-241188B9BF2A}"/>
              </a:ext>
            </a:extLst>
          </p:cNvPr>
          <p:cNvSpPr>
            <a:spLocks noGrp="1"/>
          </p:cNvSpPr>
          <p:nvPr>
            <p:ph type="body" sz="quarter" idx="50"/>
          </p:nvPr>
        </p:nvSpPr>
        <p:spPr>
          <a:xfrm>
            <a:off x="3582472" y="728112"/>
            <a:ext cx="8121848" cy="945874"/>
          </a:xfrm>
        </p:spPr>
        <p:txBody>
          <a:bodyPr/>
          <a:lstStyle/>
          <a:p>
            <a:r>
              <a:rPr lang="en-GB" sz="1800" dirty="0"/>
              <a:t>Unternehmen nutzen qualitative Methoden wie Erhebungen und Befragungen von Interessengruppen, um Erkenntnisse über Wahrnehmungen und Bedenken zu gewinnen. Quantitative Datenanalysetools analysieren Messgrößen wie Energieverbrauch und Abfallproduktion und bieten einen umfassenden Überblick für fundierte Entscheidungen und Nachhaltigkeitsinitiativen.</a:t>
            </a:r>
            <a:endParaRPr lang="en-IE" sz="1800" dirty="0"/>
          </a:p>
        </p:txBody>
      </p:sp>
      <p:sp>
        <p:nvSpPr>
          <p:cNvPr id="4" name="Text Placeholder 3">
            <a:extLst>
              <a:ext uri="{FF2B5EF4-FFF2-40B4-BE49-F238E27FC236}">
                <a16:creationId xmlns:a16="http://schemas.microsoft.com/office/drawing/2014/main" id="{F222C782-E66E-2BCC-E67C-E7D66751AEA1}"/>
              </a:ext>
            </a:extLst>
          </p:cNvPr>
          <p:cNvSpPr>
            <a:spLocks noGrp="1"/>
          </p:cNvSpPr>
          <p:nvPr>
            <p:ph type="body" sz="quarter" idx="51"/>
          </p:nvPr>
        </p:nvSpPr>
        <p:spPr>
          <a:xfrm>
            <a:off x="3606834" y="2388771"/>
            <a:ext cx="7160276" cy="730066"/>
          </a:xfrm>
        </p:spPr>
        <p:txBody>
          <a:bodyPr/>
          <a:lstStyle/>
          <a:p>
            <a:r>
              <a:rPr lang="en-IE" sz="3000" dirty="0"/>
              <a:t>Engagement von Interessengruppen</a:t>
            </a:r>
          </a:p>
        </p:txBody>
      </p:sp>
      <p:sp>
        <p:nvSpPr>
          <p:cNvPr id="5" name="Text Placeholder 4">
            <a:extLst>
              <a:ext uri="{FF2B5EF4-FFF2-40B4-BE49-F238E27FC236}">
                <a16:creationId xmlns:a16="http://schemas.microsoft.com/office/drawing/2014/main" id="{D2B15619-1C5D-B648-A04F-649B153200C0}"/>
              </a:ext>
            </a:extLst>
          </p:cNvPr>
          <p:cNvSpPr>
            <a:spLocks noGrp="1"/>
          </p:cNvSpPr>
          <p:nvPr>
            <p:ph type="body" sz="quarter" idx="52"/>
          </p:nvPr>
        </p:nvSpPr>
        <p:spPr>
          <a:xfrm>
            <a:off x="3594653" y="2871557"/>
            <a:ext cx="8121848" cy="945874"/>
          </a:xfrm>
        </p:spPr>
        <p:txBody>
          <a:bodyPr/>
          <a:lstStyle/>
          <a:p>
            <a:r>
              <a:rPr lang="en-GB" sz="1800" dirty="0"/>
              <a:t>Die aktive Einbindung der Stakeholder schafft Transparenz und Vertrauen. Unternehmen erleichtern das direkte Feedback durch regelmäßige Treffen und Foren. Beiräte bieten kontinuierliche Einblicke aus unterschiedlichen Perspektiven. Die Einbindung lokaler Gemeinschaften in ökologische und soziale Initiativen.</a:t>
            </a:r>
            <a:endParaRPr lang="en-IE" sz="1800" dirty="0"/>
          </a:p>
        </p:txBody>
      </p:sp>
      <p:sp>
        <p:nvSpPr>
          <p:cNvPr id="6" name="Text Placeholder 5">
            <a:extLst>
              <a:ext uri="{FF2B5EF4-FFF2-40B4-BE49-F238E27FC236}">
                <a16:creationId xmlns:a16="http://schemas.microsoft.com/office/drawing/2014/main" id="{44F4C4D7-4430-8B18-7D80-7C70314D346D}"/>
              </a:ext>
            </a:extLst>
          </p:cNvPr>
          <p:cNvSpPr>
            <a:spLocks noGrp="1"/>
          </p:cNvSpPr>
          <p:nvPr>
            <p:ph type="body" sz="quarter" idx="54"/>
          </p:nvPr>
        </p:nvSpPr>
        <p:spPr>
          <a:xfrm>
            <a:off x="3594653" y="4451584"/>
            <a:ext cx="7160276" cy="730066"/>
          </a:xfrm>
        </p:spPr>
        <p:txBody>
          <a:bodyPr/>
          <a:lstStyle/>
          <a:p>
            <a:r>
              <a:rPr lang="en-IE" sz="3000" dirty="0"/>
              <a:t>Leistung messen</a:t>
            </a:r>
          </a:p>
        </p:txBody>
      </p:sp>
      <p:sp>
        <p:nvSpPr>
          <p:cNvPr id="7" name="Text Placeholder 6">
            <a:extLst>
              <a:ext uri="{FF2B5EF4-FFF2-40B4-BE49-F238E27FC236}">
                <a16:creationId xmlns:a16="http://schemas.microsoft.com/office/drawing/2014/main" id="{ABCDDC8B-D0B9-178B-DDDB-905F2CE578EE}"/>
              </a:ext>
            </a:extLst>
          </p:cNvPr>
          <p:cNvSpPr>
            <a:spLocks noGrp="1"/>
          </p:cNvSpPr>
          <p:nvPr>
            <p:ph type="body" sz="quarter" idx="55"/>
          </p:nvPr>
        </p:nvSpPr>
        <p:spPr>
          <a:xfrm>
            <a:off x="3606834" y="4935280"/>
            <a:ext cx="7962732" cy="945874"/>
          </a:xfrm>
        </p:spPr>
        <p:txBody>
          <a:bodyPr/>
          <a:lstStyle/>
          <a:p>
            <a:r>
              <a:rPr lang="en-IE" sz="1800" dirty="0"/>
              <a:t>Umweltmetriken (z. B. CO2-Fußabdruck, Wasserverbrauch) zeigen Bereiche zur Verringerung der ökologischen Auswirkungen auf. Soziale Kennzahlen (z. B. Mitarbeiterzufriedenheit, Engagement in der Gemeinde) messen die sozialen Auswirkungen. Ökonomische Kennzahlen bewerten den Beitrag zur lokalen Wirtschaft und dienen als Entscheidungsgrundlage für die kontinuierliche Verbesserung von Nachhaltigkeitspraktiken.</a:t>
            </a:r>
          </a:p>
        </p:txBody>
      </p:sp>
      <p:pic>
        <p:nvPicPr>
          <p:cNvPr id="8" name="Picture Placeholder 11" descr="Data displayed on screen">
            <a:extLst>
              <a:ext uri="{FF2B5EF4-FFF2-40B4-BE49-F238E27FC236}">
                <a16:creationId xmlns:a16="http://schemas.microsoft.com/office/drawing/2014/main" id="{431542DA-D58C-C2FC-FFB1-9B8D18A0AFFE}"/>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62" r="11862"/>
          <a:stretch>
            <a:fillRect/>
          </a:stretch>
        </p:blipFill>
        <p:spPr>
          <a:xfrm>
            <a:off x="1449388" y="409575"/>
            <a:ext cx="1839912" cy="1608138"/>
          </a:xfrm>
          <a:ln>
            <a:solidFill>
              <a:srgbClr val="0F486D"/>
            </a:solidFill>
          </a:ln>
        </p:spPr>
      </p:pic>
      <p:pic>
        <p:nvPicPr>
          <p:cNvPr id="10" name="Picture Placeholder 13" descr="Blue megaphone with sound wave ribbons">
            <a:extLst>
              <a:ext uri="{FF2B5EF4-FFF2-40B4-BE49-F238E27FC236}">
                <a16:creationId xmlns:a16="http://schemas.microsoft.com/office/drawing/2014/main" id="{4CFD05CB-C5AE-3504-E88C-9B13E050B812}"/>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9380" r="9380"/>
          <a:stretch>
            <a:fillRect/>
          </a:stretch>
        </p:blipFill>
        <p:spPr>
          <a:xfrm>
            <a:off x="1449388" y="2506663"/>
            <a:ext cx="1839912" cy="1608137"/>
          </a:xfrm>
          <a:ln>
            <a:solidFill>
              <a:srgbClr val="0F486D"/>
            </a:solidFill>
          </a:ln>
        </p:spPr>
      </p:pic>
      <p:pic>
        <p:nvPicPr>
          <p:cNvPr id="12" name="Picture Placeholder 15" descr="Open notebook with drawn charts">
            <a:extLst>
              <a:ext uri="{FF2B5EF4-FFF2-40B4-BE49-F238E27FC236}">
                <a16:creationId xmlns:a16="http://schemas.microsoft.com/office/drawing/2014/main" id="{C0CAA7AA-927D-3476-99FA-8FE9CFD5A686}"/>
              </a:ext>
            </a:extLst>
          </p:cNvPr>
          <p:cNvPicPr>
            <a:picLocks noGrp="1" noChangeAspect="1"/>
          </p:cNvPicPr>
          <p:nvPr>
            <p:ph type="pic" sz="quarter" idx="23"/>
          </p:nvPr>
        </p:nvPicPr>
        <p:blipFill>
          <a:blip r:embed="rId4" cstate="email">
            <a:extLst>
              <a:ext uri="{28A0092B-C50C-407E-A947-70E740481C1C}">
                <a14:useLocalDpi xmlns:a14="http://schemas.microsoft.com/office/drawing/2010/main"/>
              </a:ext>
            </a:extLst>
          </a:blip>
          <a:srcRect l="8049" r="8049"/>
          <a:stretch>
            <a:fillRect/>
          </a:stretch>
        </p:blipFill>
        <p:spPr>
          <a:xfrm>
            <a:off x="1449388" y="4603750"/>
            <a:ext cx="1839912" cy="1608138"/>
          </a:xfrm>
          <a:ln>
            <a:solidFill>
              <a:srgbClr val="0F486D"/>
            </a:solidFill>
          </a:ln>
        </p:spPr>
      </p:pic>
    </p:spTree>
    <p:extLst>
      <p:ext uri="{BB962C8B-B14F-4D97-AF65-F5344CB8AC3E}">
        <p14:creationId xmlns:p14="http://schemas.microsoft.com/office/powerpoint/2010/main" val="19983294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183ED8-CF53-96C9-488E-5C0DB65EBEC6}"/>
              </a:ext>
            </a:extLst>
          </p:cNvPr>
          <p:cNvSpPr>
            <a:spLocks noGrp="1"/>
          </p:cNvSpPr>
          <p:nvPr>
            <p:ph type="body" sz="quarter" idx="30"/>
          </p:nvPr>
        </p:nvSpPr>
        <p:spPr>
          <a:xfrm>
            <a:off x="461838" y="671853"/>
            <a:ext cx="10483431" cy="804265"/>
          </a:xfrm>
        </p:spPr>
        <p:txBody>
          <a:bodyPr/>
          <a:lstStyle/>
          <a:p>
            <a:r>
              <a:rPr lang="en-GB" sz="3600" dirty="0"/>
              <a:t>Förderung des kritischen Denkens</a:t>
            </a:r>
            <a:endParaRPr lang="en-IE" dirty="0"/>
          </a:p>
        </p:txBody>
      </p:sp>
      <p:sp>
        <p:nvSpPr>
          <p:cNvPr id="3" name="Text Placeholder 2">
            <a:extLst>
              <a:ext uri="{FF2B5EF4-FFF2-40B4-BE49-F238E27FC236}">
                <a16:creationId xmlns:a16="http://schemas.microsoft.com/office/drawing/2014/main" id="{760BA8A0-B2A8-105B-B169-E91D08DDE469}"/>
              </a:ext>
            </a:extLst>
          </p:cNvPr>
          <p:cNvSpPr>
            <a:spLocks noGrp="1"/>
          </p:cNvSpPr>
          <p:nvPr>
            <p:ph type="body" sz="quarter" idx="48"/>
          </p:nvPr>
        </p:nvSpPr>
        <p:spPr>
          <a:xfrm>
            <a:off x="469426" y="1440882"/>
            <a:ext cx="11253147" cy="4439577"/>
          </a:xfrm>
        </p:spPr>
        <p:txBody>
          <a:bodyPr/>
          <a:lstStyle/>
          <a:p>
            <a:pPr>
              <a:spcAft>
                <a:spcPts val="600"/>
              </a:spcAft>
            </a:pPr>
            <a:r>
              <a:rPr lang="en-GB" sz="2000" dirty="0"/>
              <a:t>Kritisches Denken bei der ethischen Entscheidungsfindung ermöglicht es Unternehmen, komplexe Herausforderungen zu bewältigen und fundierte Entscheidungen zu treffen, die mit den gesellschaftlichen Erwartungen und ethischen Standards in Einklang stehen. Dies beinhaltet:</a:t>
            </a:r>
          </a:p>
          <a:p>
            <a:pPr>
              <a:spcAft>
                <a:spcPts val="600"/>
              </a:spcAft>
            </a:pPr>
            <a:r>
              <a:rPr lang="en-GB" sz="2000" b="1" dirty="0">
                <a:highlight>
                  <a:srgbClr val="F36C2F"/>
                </a:highlight>
              </a:rPr>
              <a:t>Folgenanalyse: </a:t>
            </a:r>
            <a:r>
              <a:rPr lang="en-GB" sz="2000" dirty="0"/>
              <a:t>Vorhersage und Bewertung der potenziellen Auswirkungen von Unternehmensentscheidungen auf verschiedene Interessengruppen unter Berücksichtigung der kurz- und langfristigen Folgen.</a:t>
            </a:r>
          </a:p>
          <a:p>
            <a:pPr>
              <a:spcAft>
                <a:spcPts val="600"/>
              </a:spcAft>
            </a:pPr>
            <a:r>
              <a:rPr lang="en-GB" sz="2000" b="1" dirty="0">
                <a:highlight>
                  <a:srgbClr val="F36C2F"/>
                </a:highlight>
              </a:rPr>
              <a:t>Ethische Bewertung: </a:t>
            </a:r>
            <a:r>
              <a:rPr lang="en-GB" sz="2000" dirty="0"/>
              <a:t>Anwendung ethischer Grundsätze, rechtlicher Anforderungen und gesellschaftlicher Normen zur Bewertung der moralischen Auswirkungen von Entscheidungen. Dazu gehören Überlegungen zu Fairness, Gerechtigkeit, Transparenz und Achtung der Menschenrechte.</a:t>
            </a:r>
          </a:p>
          <a:p>
            <a:pPr>
              <a:spcAft>
                <a:spcPts val="600"/>
              </a:spcAft>
            </a:pPr>
            <a:r>
              <a:rPr lang="en-GB" sz="2000" b="1" dirty="0">
                <a:highlight>
                  <a:srgbClr val="F36C2F"/>
                </a:highlight>
              </a:rPr>
              <a:t>Strategische Entscheidungsfindung: </a:t>
            </a:r>
            <a:r>
              <a:rPr lang="en-GB" sz="2000" dirty="0"/>
              <a:t>Nutzung der aus Folgenabschätzungen und ethischen Bewertungen gewonnenen Erkenntnisse für die strategische Planung und Entscheidungsfindung. Unternehmen können Strategien, Praktiken und Ziele anpassen, um positive Auswirkungen zu maximieren und negative Auswirkungen auf Stakeholder und die Umwelt zu minimieren.</a:t>
            </a:r>
            <a:endParaRPr lang="en-IE" sz="2000" dirty="0"/>
          </a:p>
        </p:txBody>
      </p:sp>
      <p:grpSp>
        <p:nvGrpSpPr>
          <p:cNvPr id="4" name="Group 3">
            <a:extLst>
              <a:ext uri="{FF2B5EF4-FFF2-40B4-BE49-F238E27FC236}">
                <a16:creationId xmlns:a16="http://schemas.microsoft.com/office/drawing/2014/main" id="{6F66CCE1-5F0C-C777-8295-3346CBAAE01B}"/>
              </a:ext>
            </a:extLst>
          </p:cNvPr>
          <p:cNvGrpSpPr/>
          <p:nvPr/>
        </p:nvGrpSpPr>
        <p:grpSpPr>
          <a:xfrm>
            <a:off x="10645391" y="556596"/>
            <a:ext cx="912643" cy="1019345"/>
            <a:chOff x="8865150" y="2423597"/>
            <a:chExt cx="667916" cy="746005"/>
          </a:xfrm>
          <a:solidFill>
            <a:srgbClr val="0F486D"/>
          </a:solidFill>
        </p:grpSpPr>
        <p:sp>
          <p:nvSpPr>
            <p:cNvPr id="5" name="Freeform 232">
              <a:extLst>
                <a:ext uri="{FF2B5EF4-FFF2-40B4-BE49-F238E27FC236}">
                  <a16:creationId xmlns:a16="http://schemas.microsoft.com/office/drawing/2014/main" id="{639823A5-B0F2-EF35-F5BB-90627410E88C}"/>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36C2F"/>
            </a:solidFill>
            <a:ln w="9028" cap="flat">
              <a:noFill/>
              <a:prstDash val="solid"/>
              <a:miter/>
            </a:ln>
          </p:spPr>
          <p:txBody>
            <a:bodyPr rtlCol="0" anchor="ctr"/>
            <a:lstStyle/>
            <a:p>
              <a:endParaRPr lang="en-US"/>
            </a:p>
          </p:txBody>
        </p:sp>
        <p:grpSp>
          <p:nvGrpSpPr>
            <p:cNvPr id="6" name="Graphic 2">
              <a:extLst>
                <a:ext uri="{FF2B5EF4-FFF2-40B4-BE49-F238E27FC236}">
                  <a16:creationId xmlns:a16="http://schemas.microsoft.com/office/drawing/2014/main" id="{16FADFC5-3BC6-FDDF-200A-5FD5ADC32AA0}"/>
                </a:ext>
              </a:extLst>
            </p:cNvPr>
            <p:cNvGrpSpPr/>
            <p:nvPr/>
          </p:nvGrpSpPr>
          <p:grpSpPr>
            <a:xfrm>
              <a:off x="8865150" y="2423597"/>
              <a:ext cx="667916" cy="746005"/>
              <a:chOff x="8865150" y="2423597"/>
              <a:chExt cx="667916" cy="746005"/>
            </a:xfrm>
            <a:grpFill/>
          </p:grpSpPr>
          <p:sp>
            <p:nvSpPr>
              <p:cNvPr id="7" name="Freeform 234">
                <a:extLst>
                  <a:ext uri="{FF2B5EF4-FFF2-40B4-BE49-F238E27FC236}">
                    <a16:creationId xmlns:a16="http://schemas.microsoft.com/office/drawing/2014/main" id="{F028E087-44F6-71F3-5B4E-E5159B53E8D6}"/>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p>
            </p:txBody>
          </p:sp>
          <p:sp>
            <p:nvSpPr>
              <p:cNvPr id="8" name="Freeform 235">
                <a:extLst>
                  <a:ext uri="{FF2B5EF4-FFF2-40B4-BE49-F238E27FC236}">
                    <a16:creationId xmlns:a16="http://schemas.microsoft.com/office/drawing/2014/main" id="{B1A58852-43E7-C38C-61D0-5B2EF0687D48}"/>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p>
            </p:txBody>
          </p:sp>
          <p:sp>
            <p:nvSpPr>
              <p:cNvPr id="9" name="Freeform 236">
                <a:extLst>
                  <a:ext uri="{FF2B5EF4-FFF2-40B4-BE49-F238E27FC236}">
                    <a16:creationId xmlns:a16="http://schemas.microsoft.com/office/drawing/2014/main" id="{E40F0C83-81CD-A126-CAD8-0F506D275D6F}"/>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p>
            </p:txBody>
          </p:sp>
          <p:sp>
            <p:nvSpPr>
              <p:cNvPr id="10" name="Freeform 237">
                <a:extLst>
                  <a:ext uri="{FF2B5EF4-FFF2-40B4-BE49-F238E27FC236}">
                    <a16:creationId xmlns:a16="http://schemas.microsoft.com/office/drawing/2014/main" id="{8BCD04EB-F14F-739D-AEB0-3EBBD900A0E4}"/>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p>
            </p:txBody>
          </p:sp>
          <p:sp>
            <p:nvSpPr>
              <p:cNvPr id="11" name="Freeform 238">
                <a:extLst>
                  <a:ext uri="{FF2B5EF4-FFF2-40B4-BE49-F238E27FC236}">
                    <a16:creationId xmlns:a16="http://schemas.microsoft.com/office/drawing/2014/main" id="{FB72386E-6E46-7CB5-A0DE-4969FBEF2EE2}"/>
                  </a:ext>
                </a:extLst>
              </p:cNvPr>
              <p:cNvSpPr/>
              <p:nvPr/>
            </p:nvSpPr>
            <p:spPr>
              <a:xfrm>
                <a:off x="9053485" y="2552635"/>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178505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797712" y="1950996"/>
            <a:ext cx="10596566" cy="4439577"/>
          </a:xfrm>
        </p:spPr>
        <p:txBody>
          <a:bodyPr/>
          <a:lstStyle/>
          <a:p>
            <a:pPr>
              <a:spcAft>
                <a:spcPts val="600"/>
              </a:spcAft>
            </a:pPr>
            <a:r>
              <a:rPr lang="en-GB" sz="1800"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a:t>
            </a:r>
            <a:r>
              <a:rPr lang="en-GB" sz="1800" b="1" dirty="0"/>
              <a:t>: </a:t>
            </a:r>
            <a:r>
              <a:rPr lang="en-GB" sz="1800" dirty="0"/>
              <a:t>Förderung fairer Arbeitspraktiken durch ethisches Geschäftsgebaren, Schaffung eines integrativen und nachhaltigen Wirtschaftswachstums und Gewährleistung menschenwürdiger Arbeit für alle Beschäftigten.</a:t>
            </a:r>
          </a:p>
          <a:p>
            <a:pPr>
              <a:spcAft>
                <a:spcPts val="600"/>
              </a:spcAft>
            </a:pPr>
            <a:r>
              <a:rPr lang="en-GB" sz="1800" b="1" dirty="0">
                <a:solidFill>
                  <a:srgbClr val="0F486D"/>
                </a:solidFill>
                <a:hlinkClick r:id="rId3">
                  <a:extLst>
                    <a:ext uri="{A12FA001-AC4F-418D-AE19-62706E023703}">
                      <ahyp:hlinkClr xmlns:ahyp="http://schemas.microsoft.com/office/drawing/2018/hyperlinkcolor" val="tx"/>
                    </a:ext>
                  </a:extLst>
                </a:hlinkClick>
              </a:rPr>
              <a:t>SDG 10: Verringerung von Ungleichheiten</a:t>
            </a:r>
            <a:r>
              <a:rPr lang="en-GB" sz="1800" b="1" dirty="0"/>
              <a:t>: </a:t>
            </a:r>
            <a:r>
              <a:rPr lang="en-GB" sz="1800" dirty="0"/>
              <a:t>Abbau sozialer Ungleichheiten durch die Umsetzung verantwortungsvoller Geschäftspraktiken, die Gleichheit, Inklusion und faire Behandlung aller Stakeholder fördern.</a:t>
            </a:r>
          </a:p>
          <a:p>
            <a:pPr>
              <a:spcAft>
                <a:spcPts val="600"/>
              </a:spcAft>
            </a:pPr>
            <a:r>
              <a:rPr lang="en-GB" sz="1800" b="1" dirty="0">
                <a:solidFill>
                  <a:srgbClr val="0F486D"/>
                </a:solidFill>
                <a:hlinkClick r:id="rId4">
                  <a:extLst>
                    <a:ext uri="{A12FA001-AC4F-418D-AE19-62706E023703}">
                      <ahyp:hlinkClr xmlns:ahyp="http://schemas.microsoft.com/office/drawing/2018/hyperlinkcolor" val="tx"/>
                    </a:ext>
                  </a:extLst>
                </a:hlinkClick>
              </a:rPr>
              <a:t>EntreComp 1.5 Ethisches und nachhaltiges Denken</a:t>
            </a:r>
            <a:r>
              <a:rPr lang="en-GB" sz="1800" b="1" dirty="0"/>
              <a:t>: </a:t>
            </a:r>
            <a:r>
              <a:rPr lang="en-GB" sz="1800" dirty="0"/>
              <a:t>Die Bewertung der Folgen und Auswirkungen von Ideen, Möglichkeiten und Handlungen fördert nachhaltige Managementpraktiken, die soziale Verantwortung von Unternehmen und die Eingliederung in Unternehmen und trägt so zu einem ethischen Geschäftsgebaren bei.</a:t>
            </a:r>
            <a:endParaRPr lang="en-GB" sz="1800" b="1" dirty="0"/>
          </a:p>
          <a:p>
            <a:pPr>
              <a:spcAft>
                <a:spcPts val="600"/>
              </a:spcAft>
            </a:pPr>
            <a:r>
              <a:rPr lang="en-GB" sz="1800" b="1" dirty="0">
                <a:solidFill>
                  <a:srgbClr val="0F486D"/>
                </a:solidFill>
                <a:hlinkClick r:id="rId4">
                  <a:extLst>
                    <a:ext uri="{A12FA001-AC4F-418D-AE19-62706E023703}">
                      <ahyp:hlinkClr xmlns:ahyp="http://schemas.microsoft.com/office/drawing/2018/hyperlinkcolor" val="tx"/>
                    </a:ext>
                  </a:extLst>
                </a:hlinkClick>
              </a:rPr>
              <a:t>EntreComp 3.1 Die Initiative ergreifen</a:t>
            </a:r>
            <a:r>
              <a:rPr lang="en-GB" sz="1800" b="1" dirty="0"/>
              <a:t>: </a:t>
            </a:r>
            <a:r>
              <a:rPr lang="en-GB" sz="1800" dirty="0"/>
              <a:t>Das Erkennen von Chancen, das Treffen unabhängiger operativer Entscheidungen und die Formulierung strategischer Geschäftsentscheidungen befähigen zu nachhaltigen Praktiken innerhalb des Geschäftsbetriebs und unterstützen den Umweltschutz und verantwortungsvolles Unternehmertum.</a:t>
            </a:r>
          </a:p>
        </p:txBody>
      </p:sp>
      <p:sp>
        <p:nvSpPr>
          <p:cNvPr id="6" name="Text Placeholder 1">
            <a:extLst>
              <a:ext uri="{FF2B5EF4-FFF2-40B4-BE49-F238E27FC236}">
                <a16:creationId xmlns:a16="http://schemas.microsoft.com/office/drawing/2014/main" id="{8B6A067E-6AE7-FA20-7D71-0989EBC5B69B}"/>
              </a:ext>
            </a:extLst>
          </p:cNvPr>
          <p:cNvSpPr>
            <a:spLocks noGrp="1"/>
          </p:cNvSpPr>
          <p:nvPr>
            <p:ph type="body" sz="quarter" idx="30"/>
          </p:nvPr>
        </p:nvSpPr>
        <p:spPr>
          <a:xfrm>
            <a:off x="1482061" y="450972"/>
            <a:ext cx="9227869" cy="804265"/>
          </a:xfrm>
        </p:spPr>
        <p:txBody>
          <a:bodyPr/>
          <a:lstStyle/>
          <a:p>
            <a:pPr algn="ctr"/>
            <a:r>
              <a:rPr lang="en-US" sz="2800" dirty="0"/>
              <a:t>ANGLEICHUNG AN DIE ZIELE FÜR NACHHALTIGE ENTWICKLUNG &amp; ENTRECOMP</a:t>
            </a:r>
          </a:p>
        </p:txBody>
      </p:sp>
      <p:pic>
        <p:nvPicPr>
          <p:cNvPr id="7" name="Picture 2">
            <a:extLst>
              <a:ext uri="{FF2B5EF4-FFF2-40B4-BE49-F238E27FC236}">
                <a16:creationId xmlns:a16="http://schemas.microsoft.com/office/drawing/2014/main" id="{5CFA71C4-AB9D-40DB-4063-B7F8735E2A3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9421" y="386632"/>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D98F945-D9DE-A832-BFA3-A426E89BFDCE}"/>
              </a:ext>
            </a:extLst>
          </p:cNvPr>
          <p:cNvPicPr>
            <a:picLocks noChangeAspect="1"/>
          </p:cNvPicPr>
          <p:nvPr/>
        </p:nvPicPr>
        <p:blipFill>
          <a:blip r:embed="rId6"/>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25826392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D88663A-1EBA-529D-3881-30FFB2BFF860}"/>
              </a:ext>
            </a:extLst>
          </p:cNvPr>
          <p:cNvGraphicFramePr>
            <a:graphicFrameLocks noChangeAspect="1"/>
          </p:cNvGraphicFramePr>
          <p:nvPr>
            <p:custDataLst>
              <p:tags r:id="rId1"/>
            </p:custDataLst>
            <p:extLst>
              <p:ext uri="{D42A27DB-BD31-4B8C-83A1-F6EECF244321}">
                <p14:modId xmlns:p14="http://schemas.microsoft.com/office/powerpoint/2010/main" val="1719638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Two cute robots">
            <a:extLst>
              <a:ext uri="{FF2B5EF4-FFF2-40B4-BE49-F238E27FC236}">
                <a16:creationId xmlns:a16="http://schemas.microsoft.com/office/drawing/2014/main" id="{D316A823-1E28-C8C2-2C6B-6A28C68F8B8F}"/>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A0C335A3-EE55-F05B-FD33-823DE692CF6C}"/>
              </a:ext>
            </a:extLst>
          </p:cNvPr>
          <p:cNvSpPr>
            <a:spLocks noGrp="1"/>
          </p:cNvSpPr>
          <p:nvPr>
            <p:ph type="body" sz="quarter" idx="30"/>
          </p:nvPr>
        </p:nvSpPr>
        <p:spPr>
          <a:xfrm>
            <a:off x="3767537" y="168479"/>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3466DB92-AB89-C473-7ADE-095100E2CD07}"/>
              </a:ext>
            </a:extLst>
          </p:cNvPr>
          <p:cNvSpPr>
            <a:spLocks noGrp="1"/>
          </p:cNvSpPr>
          <p:nvPr>
            <p:ph type="body" sz="quarter" idx="48"/>
          </p:nvPr>
        </p:nvSpPr>
        <p:spPr>
          <a:xfrm>
            <a:off x="4739779" y="1107347"/>
            <a:ext cx="7189365" cy="5410899"/>
          </a:xfrm>
          <a:solidFill>
            <a:schemeClr val="bg1"/>
          </a:solidFill>
        </p:spPr>
        <p:txBody>
          <a:bodyPr/>
          <a:lstStyle/>
          <a:p>
            <a:pPr>
              <a:spcAft>
                <a:spcPts val="600"/>
              </a:spcAft>
            </a:pPr>
            <a:r>
              <a:rPr lang="en-IE" sz="1800" b="1" dirty="0"/>
              <a:t>CSR-Aktionsplan:</a:t>
            </a:r>
          </a:p>
          <a:p>
            <a:pPr>
              <a:spcAft>
                <a:spcPts val="600"/>
              </a:spcAft>
            </a:pPr>
            <a:r>
              <a:rPr lang="en-IE" sz="1800" b="1" dirty="0"/>
              <a:t>Ziel: </a:t>
            </a:r>
            <a:r>
              <a:rPr lang="en-IE" sz="1800" dirty="0"/>
              <a:t>Entwicklung von Fähigkeiten zur Integration von sozialer Verantwortung in Unternehmen mit klaren Zielen und umsetzbaren Schritten.</a:t>
            </a:r>
          </a:p>
          <a:p>
            <a:pPr>
              <a:spcAft>
                <a:spcPts val="600"/>
              </a:spcAft>
            </a:pPr>
            <a:r>
              <a:rPr lang="en-IE" sz="1800" b="1" dirty="0"/>
              <a:t>Schritte:</a:t>
            </a:r>
            <a:endParaRPr lang="en-IE" sz="1800" dirty="0"/>
          </a:p>
          <a:p>
            <a:pPr indent="-457200">
              <a:buFont typeface="+mj-lt"/>
              <a:buAutoNum type="arabicPeriod"/>
            </a:pPr>
            <a:r>
              <a:rPr lang="en-IE" sz="1800" b="1" dirty="0"/>
              <a:t>Definieren Sie Ziele:</a:t>
            </a:r>
            <a:r>
              <a:rPr lang="en-IE" sz="1800" dirty="0"/>
              <a:t> (z. B. Reduzierung des CO2-Fußabdrucks)</a:t>
            </a:r>
          </a:p>
          <a:p>
            <a:pPr indent="-457200">
              <a:buFont typeface="+mj-lt"/>
              <a:buAutoNum type="arabicPeriod"/>
            </a:pPr>
            <a:r>
              <a:rPr lang="en-IE" sz="1800" b="1" dirty="0"/>
              <a:t>Praktiken bewerten: </a:t>
            </a:r>
            <a:r>
              <a:rPr lang="en-IE" sz="1800" dirty="0"/>
              <a:t>(z. B. Energieverbrauch, Arbeitsbedingungen)</a:t>
            </a:r>
          </a:p>
          <a:p>
            <a:pPr indent="-457200">
              <a:buFont typeface="+mj-lt"/>
              <a:buAutoNum type="arabicPeriod"/>
            </a:pPr>
            <a:r>
              <a:rPr lang="en-IE" sz="1800" b="1" dirty="0"/>
              <a:t>Ziele setzen: </a:t>
            </a:r>
            <a:r>
              <a:rPr lang="en-IE" sz="1800" dirty="0"/>
              <a:t>(z. B. Reduzierung des Energieverbrauchs um 20 % in 2 Jahren)</a:t>
            </a:r>
          </a:p>
          <a:p>
            <a:pPr indent="-457200">
              <a:buFont typeface="+mj-lt"/>
              <a:buAutoNum type="arabicPeriod"/>
            </a:pPr>
            <a:r>
              <a:rPr lang="en-IE" sz="1800" b="1" dirty="0"/>
              <a:t>Strategien entwickeln: </a:t>
            </a:r>
            <a:r>
              <a:rPr lang="en-IE" sz="1800" dirty="0"/>
              <a:t>(z. B. energieeffiziente Technik einführen)</a:t>
            </a:r>
          </a:p>
          <a:p>
            <a:pPr indent="-457200">
              <a:buFont typeface="+mj-lt"/>
              <a:buAutoNum type="arabicPeriod"/>
            </a:pPr>
            <a:r>
              <a:rPr lang="en-IE" sz="1800" b="1" dirty="0"/>
              <a:t>Zuweisung von Ressourcen:</a:t>
            </a:r>
            <a:r>
              <a:rPr lang="en-IE" sz="1800" dirty="0"/>
              <a:t> (z. B. Budget, Personal)</a:t>
            </a:r>
          </a:p>
          <a:p>
            <a:pPr indent="-457200">
              <a:buFont typeface="+mj-lt"/>
              <a:buAutoNum type="arabicPeriod"/>
            </a:pPr>
            <a:r>
              <a:rPr lang="en-IE" sz="1800" b="1" dirty="0"/>
              <a:t>Fortschritte überwachen:</a:t>
            </a:r>
            <a:r>
              <a:rPr lang="en-IE" sz="1800" dirty="0"/>
              <a:t> (z. B. Energieverbrauchsberichte)</a:t>
            </a:r>
          </a:p>
          <a:p>
            <a:pPr indent="-457200">
              <a:spcAft>
                <a:spcPts val="600"/>
              </a:spcAft>
              <a:buFont typeface="+mj-lt"/>
              <a:buAutoNum type="arabicPeriod"/>
            </a:pPr>
            <a:r>
              <a:rPr lang="en-IE" sz="1800" b="1" dirty="0"/>
              <a:t>Ergebnisse auswerten: </a:t>
            </a:r>
            <a:r>
              <a:rPr lang="en-IE" sz="1800" dirty="0"/>
              <a:t>(z. B. Feedback, Datenanalyse)</a:t>
            </a:r>
          </a:p>
          <a:p>
            <a:pPr>
              <a:spcAft>
                <a:spcPts val="600"/>
              </a:spcAft>
            </a:pPr>
            <a:r>
              <a:rPr lang="en-IE" sz="1800" b="1" dirty="0"/>
              <a:t>Lernergebnis:</a:t>
            </a:r>
            <a:r>
              <a:rPr lang="en-IE" sz="1800" dirty="0"/>
              <a:t> Verbessertes Verständnis für nachhaltige Praktiken und ethische Entscheidungsfindung. Entwicklung von Fähigkeiten zur Planung, Umsetzung und Bewertung von CSR-Initiativen.</a:t>
            </a:r>
          </a:p>
        </p:txBody>
      </p:sp>
    </p:spTree>
    <p:extLst>
      <p:ext uri="{BB962C8B-B14F-4D97-AF65-F5344CB8AC3E}">
        <p14:creationId xmlns:p14="http://schemas.microsoft.com/office/powerpoint/2010/main" val="25020661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CD864F-12FC-444B-495D-A5E327843E5F}"/>
              </a:ext>
            </a:extLst>
          </p:cNvPr>
          <p:cNvSpPr>
            <a:spLocks noGrp="1"/>
          </p:cNvSpPr>
          <p:nvPr>
            <p:ph type="body" sz="quarter" idx="30"/>
          </p:nvPr>
        </p:nvSpPr>
        <p:spPr>
          <a:xfrm>
            <a:off x="6316664" y="147327"/>
            <a:ext cx="4951851" cy="845139"/>
          </a:xfrm>
        </p:spPr>
        <p:txBody>
          <a:bodyPr/>
          <a:lstStyle/>
          <a:p>
            <a:r>
              <a:rPr lang="en-IE" dirty="0"/>
              <a:t>Weitere Ressourcen</a:t>
            </a:r>
          </a:p>
        </p:txBody>
      </p:sp>
      <p:sp>
        <p:nvSpPr>
          <p:cNvPr id="4" name="Text Placeholder 3">
            <a:extLst>
              <a:ext uri="{FF2B5EF4-FFF2-40B4-BE49-F238E27FC236}">
                <a16:creationId xmlns:a16="http://schemas.microsoft.com/office/drawing/2014/main" id="{03217DE6-3467-0A26-1950-9C5913DF9B0A}"/>
              </a:ext>
            </a:extLst>
          </p:cNvPr>
          <p:cNvSpPr>
            <a:spLocks noGrp="1"/>
          </p:cNvSpPr>
          <p:nvPr>
            <p:ph type="body" sz="quarter" idx="48"/>
          </p:nvPr>
        </p:nvSpPr>
        <p:spPr>
          <a:xfrm>
            <a:off x="6316663" y="1023169"/>
            <a:ext cx="5368405" cy="5239479"/>
          </a:xfrm>
        </p:spPr>
        <p:txBody>
          <a:bodyPr/>
          <a:lstStyle/>
          <a:p>
            <a:r>
              <a:rPr lang="en-GB" sz="2400" dirty="0"/>
              <a:t>Diese Lektüre und Materialien bieten wertvolle Einblicke in die Integration von Nachhaltigkeitsprinzipien in den Geschäftsbetrieb und die Ausrichtung auf globale Umweltziele.</a:t>
            </a:r>
          </a:p>
          <a:p>
            <a:pPr marL="342900" indent="-342900" algn="just">
              <a:buFont typeface="Arial" panose="020B0604020202020204" pitchFamily="34" charset="0"/>
              <a:buChar char="•"/>
            </a:pPr>
            <a:r>
              <a:rPr lang="en-GB" sz="2200" b="1" dirty="0">
                <a:hlinkClick r:id="rId2"/>
              </a:rPr>
              <a:t>Aktienwert schaffen</a:t>
            </a:r>
            <a:r>
              <a:rPr lang="en-GB" sz="2200" b="1" dirty="0"/>
              <a:t>: Wie man den Kapitalismus neu erfindet und eine Welle von Innovation und Wachstum auslöst </a:t>
            </a:r>
          </a:p>
          <a:p>
            <a:pPr marL="342900" indent="-342900" algn="just">
              <a:buFont typeface="Arial" panose="020B0604020202020204" pitchFamily="34" charset="0"/>
              <a:buChar char="•"/>
            </a:pPr>
            <a:r>
              <a:rPr lang="en-GB" sz="2200" b="1" dirty="0">
                <a:hlinkClick r:id="rId3"/>
              </a:rPr>
              <a:t>Der Business Case für die soziale Verantwortung der Unternehmen </a:t>
            </a:r>
            <a:endParaRPr lang="en-GB" sz="2200" b="1" dirty="0"/>
          </a:p>
          <a:p>
            <a:pPr algn="just"/>
            <a:endParaRPr lang="en-GB" sz="2200" b="1" dirty="0"/>
          </a:p>
          <a:p>
            <a:pPr marL="342900" indent="-342900" algn="just">
              <a:buFont typeface="Arial" panose="020B0604020202020204" pitchFamily="34" charset="0"/>
              <a:buChar char="•"/>
            </a:pPr>
            <a:r>
              <a:rPr lang="en-GB" sz="2200" b="1" dirty="0"/>
              <a:t>Die soziale Verantwortung der Wirtschaft | Alex Edmans - </a:t>
            </a:r>
            <a:r>
              <a:rPr lang="en-GB" sz="2200" b="1" dirty="0">
                <a:hlinkClick r:id="rId4"/>
              </a:rPr>
              <a:t>Hier ansehen</a:t>
            </a:r>
            <a:endParaRPr lang="en-GB" sz="2200" b="1" dirty="0"/>
          </a:p>
        </p:txBody>
      </p:sp>
      <p:grpSp>
        <p:nvGrpSpPr>
          <p:cNvPr id="6" name="Graphic 4">
            <a:extLst>
              <a:ext uri="{FF2B5EF4-FFF2-40B4-BE49-F238E27FC236}">
                <a16:creationId xmlns:a16="http://schemas.microsoft.com/office/drawing/2014/main" id="{17776B81-4550-C7C1-F3BB-52A02FF986A6}"/>
              </a:ext>
            </a:extLst>
          </p:cNvPr>
          <p:cNvGrpSpPr/>
          <p:nvPr/>
        </p:nvGrpSpPr>
        <p:grpSpPr>
          <a:xfrm rot="19582332">
            <a:off x="10561853" y="5535406"/>
            <a:ext cx="403667" cy="780438"/>
            <a:chOff x="9129274" y="2719113"/>
            <a:chExt cx="717139" cy="1386497"/>
          </a:xfrm>
          <a:solidFill>
            <a:srgbClr val="09465E"/>
          </a:solidFill>
        </p:grpSpPr>
        <p:grpSp>
          <p:nvGrpSpPr>
            <p:cNvPr id="7" name="Graphic 4">
              <a:extLst>
                <a:ext uri="{FF2B5EF4-FFF2-40B4-BE49-F238E27FC236}">
                  <a16:creationId xmlns:a16="http://schemas.microsoft.com/office/drawing/2014/main" id="{1EF5C066-605D-754F-0837-E58435C6E09B}"/>
                </a:ext>
              </a:extLst>
            </p:cNvPr>
            <p:cNvGrpSpPr/>
            <p:nvPr/>
          </p:nvGrpSpPr>
          <p:grpSpPr>
            <a:xfrm>
              <a:off x="9159507" y="2719113"/>
              <a:ext cx="446280" cy="440141"/>
              <a:chOff x="9159507" y="2719113"/>
              <a:chExt cx="446280" cy="440141"/>
            </a:xfrm>
            <a:grpFill/>
          </p:grpSpPr>
          <p:sp>
            <p:nvSpPr>
              <p:cNvPr id="16" name="Freeform 57">
                <a:extLst>
                  <a:ext uri="{FF2B5EF4-FFF2-40B4-BE49-F238E27FC236}">
                    <a16:creationId xmlns:a16="http://schemas.microsoft.com/office/drawing/2014/main" id="{FD7E0BEE-C643-04DC-B9C9-463F521E6FB3}"/>
                  </a:ext>
                </a:extLst>
              </p:cNvPr>
              <p:cNvSpPr/>
              <p:nvPr/>
            </p:nvSpPr>
            <p:spPr>
              <a:xfrm>
                <a:off x="9159507" y="2719113"/>
                <a:ext cx="446280" cy="440141"/>
              </a:xfrm>
              <a:custGeom>
                <a:avLst/>
                <a:gdLst>
                  <a:gd name="connsiteX0" fmla="*/ 275519 w 446280"/>
                  <a:gd name="connsiteY0" fmla="*/ 440141 h 440141"/>
                  <a:gd name="connsiteX1" fmla="*/ 256120 w 446280"/>
                  <a:gd name="connsiteY1" fmla="*/ 425920 h 440141"/>
                  <a:gd name="connsiteX2" fmla="*/ 270345 w 446280"/>
                  <a:gd name="connsiteY2" fmla="*/ 402649 h 440141"/>
                  <a:gd name="connsiteX3" fmla="*/ 384154 w 446280"/>
                  <a:gd name="connsiteY3" fmla="*/ 316029 h 440141"/>
                  <a:gd name="connsiteX4" fmla="*/ 402261 w 446280"/>
                  <a:gd name="connsiteY4" fmla="*/ 176402 h 440141"/>
                  <a:gd name="connsiteX5" fmla="*/ 316903 w 446280"/>
                  <a:gd name="connsiteY5" fmla="*/ 63925 h 440141"/>
                  <a:gd name="connsiteX6" fmla="*/ 64713 w 446280"/>
                  <a:gd name="connsiteY6" fmla="*/ 131153 h 440141"/>
                  <a:gd name="connsiteX7" fmla="*/ 46607 w 446280"/>
                  <a:gd name="connsiteY7" fmla="*/ 270779 h 440141"/>
                  <a:gd name="connsiteX8" fmla="*/ 131964 w 446280"/>
                  <a:gd name="connsiteY8" fmla="*/ 383256 h 440141"/>
                  <a:gd name="connsiteX9" fmla="*/ 174642 w 446280"/>
                  <a:gd name="connsiteY9" fmla="*/ 401356 h 440141"/>
                  <a:gd name="connsiteX10" fmla="*/ 187575 w 446280"/>
                  <a:gd name="connsiteY10" fmla="*/ 425920 h 440141"/>
                  <a:gd name="connsiteX11" fmla="*/ 163003 w 446280"/>
                  <a:gd name="connsiteY11" fmla="*/ 438848 h 440141"/>
                  <a:gd name="connsiteX12" fmla="*/ 111271 w 446280"/>
                  <a:gd name="connsiteY12" fmla="*/ 416870 h 440141"/>
                  <a:gd name="connsiteX13" fmla="*/ 7808 w 446280"/>
                  <a:gd name="connsiteY13" fmla="*/ 281122 h 440141"/>
                  <a:gd name="connsiteX14" fmla="*/ 29794 w 446280"/>
                  <a:gd name="connsiteY14" fmla="*/ 111760 h 440141"/>
                  <a:gd name="connsiteX15" fmla="*/ 335010 w 446280"/>
                  <a:gd name="connsiteY15" fmla="*/ 30311 h 440141"/>
                  <a:gd name="connsiteX16" fmla="*/ 438473 w 446280"/>
                  <a:gd name="connsiteY16" fmla="*/ 166059 h 440141"/>
                  <a:gd name="connsiteX17" fmla="*/ 416487 w 446280"/>
                  <a:gd name="connsiteY17" fmla="*/ 335421 h 440141"/>
                  <a:gd name="connsiteX18" fmla="*/ 278105 w 446280"/>
                  <a:gd name="connsiteY18" fmla="*/ 440141 h 440141"/>
                  <a:gd name="connsiteX19" fmla="*/ 275519 w 446280"/>
                  <a:gd name="connsiteY19" fmla="*/ 440141 h 4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280" h="440141">
                    <a:moveTo>
                      <a:pt x="275519" y="440141"/>
                    </a:moveTo>
                    <a:cubicBezTo>
                      <a:pt x="266466" y="440141"/>
                      <a:pt x="258705" y="433677"/>
                      <a:pt x="256120" y="425920"/>
                    </a:cubicBezTo>
                    <a:cubicBezTo>
                      <a:pt x="253533" y="415577"/>
                      <a:pt x="259999" y="405234"/>
                      <a:pt x="270345" y="402649"/>
                    </a:cubicBezTo>
                    <a:cubicBezTo>
                      <a:pt x="318197" y="389720"/>
                      <a:pt x="359582" y="359985"/>
                      <a:pt x="384154" y="316029"/>
                    </a:cubicBezTo>
                    <a:cubicBezTo>
                      <a:pt x="408727" y="273365"/>
                      <a:pt x="415194" y="222944"/>
                      <a:pt x="402261" y="176402"/>
                    </a:cubicBezTo>
                    <a:cubicBezTo>
                      <a:pt x="389328" y="128567"/>
                      <a:pt x="359582" y="88489"/>
                      <a:pt x="316903" y="63925"/>
                    </a:cubicBezTo>
                    <a:cubicBezTo>
                      <a:pt x="228960" y="12212"/>
                      <a:pt x="115151" y="43240"/>
                      <a:pt x="64713" y="131153"/>
                    </a:cubicBezTo>
                    <a:cubicBezTo>
                      <a:pt x="40141" y="173816"/>
                      <a:pt x="33674" y="224237"/>
                      <a:pt x="46607" y="270779"/>
                    </a:cubicBezTo>
                    <a:cubicBezTo>
                      <a:pt x="59540" y="318614"/>
                      <a:pt x="89285" y="358692"/>
                      <a:pt x="131964" y="383256"/>
                    </a:cubicBezTo>
                    <a:cubicBezTo>
                      <a:pt x="144896" y="391013"/>
                      <a:pt x="159123" y="397477"/>
                      <a:pt x="174642" y="401356"/>
                    </a:cubicBezTo>
                    <a:cubicBezTo>
                      <a:pt x="184989" y="403942"/>
                      <a:pt x="191455" y="415577"/>
                      <a:pt x="187575" y="425920"/>
                    </a:cubicBezTo>
                    <a:cubicBezTo>
                      <a:pt x="184989" y="436262"/>
                      <a:pt x="173349" y="442727"/>
                      <a:pt x="163003" y="438848"/>
                    </a:cubicBezTo>
                    <a:cubicBezTo>
                      <a:pt x="144896" y="433677"/>
                      <a:pt x="128084" y="425920"/>
                      <a:pt x="111271" y="416870"/>
                    </a:cubicBezTo>
                    <a:cubicBezTo>
                      <a:pt x="59540" y="387135"/>
                      <a:pt x="22034" y="338007"/>
                      <a:pt x="7808" y="281122"/>
                    </a:cubicBezTo>
                    <a:cubicBezTo>
                      <a:pt x="-7711" y="222944"/>
                      <a:pt x="48" y="163474"/>
                      <a:pt x="29794" y="111760"/>
                    </a:cubicBezTo>
                    <a:cubicBezTo>
                      <a:pt x="91872" y="4455"/>
                      <a:pt x="228960" y="-31745"/>
                      <a:pt x="335010" y="30311"/>
                    </a:cubicBezTo>
                    <a:cubicBezTo>
                      <a:pt x="386741" y="60047"/>
                      <a:pt x="424247" y="109175"/>
                      <a:pt x="438473" y="166059"/>
                    </a:cubicBezTo>
                    <a:cubicBezTo>
                      <a:pt x="453992" y="224237"/>
                      <a:pt x="446232" y="283708"/>
                      <a:pt x="416487" y="335421"/>
                    </a:cubicBezTo>
                    <a:cubicBezTo>
                      <a:pt x="386741" y="387135"/>
                      <a:pt x="337596" y="424627"/>
                      <a:pt x="278105" y="440141"/>
                    </a:cubicBezTo>
                    <a:cubicBezTo>
                      <a:pt x="278105" y="438848"/>
                      <a:pt x="276812" y="440141"/>
                      <a:pt x="275519" y="440141"/>
                    </a:cubicBezTo>
                    <a:close/>
                  </a:path>
                </a:pathLst>
              </a:custGeom>
              <a:solidFill>
                <a:srgbClr val="F99F27"/>
              </a:solidFill>
              <a:ln w="12931" cap="flat">
                <a:noFill/>
                <a:prstDash val="solid"/>
                <a:miter/>
              </a:ln>
            </p:spPr>
            <p:txBody>
              <a:bodyPr rtlCol="0" anchor="ctr"/>
              <a:lstStyle/>
              <a:p>
                <a:endParaRPr lang="en-US"/>
              </a:p>
            </p:txBody>
          </p:sp>
          <p:sp>
            <p:nvSpPr>
              <p:cNvPr id="17" name="Freeform 58">
                <a:extLst>
                  <a:ext uri="{FF2B5EF4-FFF2-40B4-BE49-F238E27FC236}">
                    <a16:creationId xmlns:a16="http://schemas.microsoft.com/office/drawing/2014/main" id="{8BC15099-8B11-F264-5555-57B33549F429}"/>
                  </a:ext>
                </a:extLst>
              </p:cNvPr>
              <p:cNvSpPr/>
              <p:nvPr/>
            </p:nvSpPr>
            <p:spPr>
              <a:xfrm>
                <a:off x="9245200" y="2800133"/>
                <a:ext cx="280068" cy="273794"/>
              </a:xfrm>
              <a:custGeom>
                <a:avLst/>
                <a:gdLst>
                  <a:gd name="connsiteX0" fmla="*/ 182066 w 280068"/>
                  <a:gd name="connsiteY0" fmla="*/ 273794 h 273794"/>
                  <a:gd name="connsiteX1" fmla="*/ 163960 w 280068"/>
                  <a:gd name="connsiteY1" fmla="*/ 260866 h 273794"/>
                  <a:gd name="connsiteX2" fmla="*/ 175599 w 280068"/>
                  <a:gd name="connsiteY2" fmla="*/ 236302 h 273794"/>
                  <a:gd name="connsiteX3" fmla="*/ 227331 w 280068"/>
                  <a:gd name="connsiteY3" fmla="*/ 192345 h 273794"/>
                  <a:gd name="connsiteX4" fmla="*/ 191119 w 280068"/>
                  <a:gd name="connsiteY4" fmla="*/ 54012 h 273794"/>
                  <a:gd name="connsiteX5" fmla="*/ 52737 w 280068"/>
                  <a:gd name="connsiteY5" fmla="*/ 90211 h 273794"/>
                  <a:gd name="connsiteX6" fmla="*/ 88949 w 280068"/>
                  <a:gd name="connsiteY6" fmla="*/ 228545 h 273794"/>
                  <a:gd name="connsiteX7" fmla="*/ 95415 w 280068"/>
                  <a:gd name="connsiteY7" fmla="*/ 254402 h 273794"/>
                  <a:gd name="connsiteX8" fmla="*/ 69550 w 280068"/>
                  <a:gd name="connsiteY8" fmla="*/ 260866 h 273794"/>
                  <a:gd name="connsiteX9" fmla="*/ 19112 w 280068"/>
                  <a:gd name="connsiteY9" fmla="*/ 69526 h 273794"/>
                  <a:gd name="connsiteX10" fmla="*/ 210518 w 280068"/>
                  <a:gd name="connsiteY10" fmla="*/ 19105 h 273794"/>
                  <a:gd name="connsiteX11" fmla="*/ 260957 w 280068"/>
                  <a:gd name="connsiteY11" fmla="*/ 210445 h 273794"/>
                  <a:gd name="connsiteX12" fmla="*/ 189826 w 280068"/>
                  <a:gd name="connsiteY12" fmla="*/ 271209 h 273794"/>
                  <a:gd name="connsiteX13" fmla="*/ 182066 w 280068"/>
                  <a:gd name="connsiteY13" fmla="*/ 273794 h 27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068" h="273794">
                    <a:moveTo>
                      <a:pt x="182066" y="273794"/>
                    </a:moveTo>
                    <a:cubicBezTo>
                      <a:pt x="174306" y="273794"/>
                      <a:pt x="166546" y="268623"/>
                      <a:pt x="163960" y="260866"/>
                    </a:cubicBezTo>
                    <a:cubicBezTo>
                      <a:pt x="160080" y="250523"/>
                      <a:pt x="165253" y="240180"/>
                      <a:pt x="175599" y="236302"/>
                    </a:cubicBezTo>
                    <a:cubicBezTo>
                      <a:pt x="197585" y="228545"/>
                      <a:pt x="215692" y="213031"/>
                      <a:pt x="227331" y="192345"/>
                    </a:cubicBezTo>
                    <a:cubicBezTo>
                      <a:pt x="255783" y="144510"/>
                      <a:pt x="238971" y="82454"/>
                      <a:pt x="191119" y="54012"/>
                    </a:cubicBezTo>
                    <a:cubicBezTo>
                      <a:pt x="143267" y="25569"/>
                      <a:pt x="81189" y="42376"/>
                      <a:pt x="52737" y="90211"/>
                    </a:cubicBezTo>
                    <a:cubicBezTo>
                      <a:pt x="24285" y="138046"/>
                      <a:pt x="41098" y="200103"/>
                      <a:pt x="88949" y="228545"/>
                    </a:cubicBezTo>
                    <a:cubicBezTo>
                      <a:pt x="98002" y="233716"/>
                      <a:pt x="101882" y="245352"/>
                      <a:pt x="95415" y="254402"/>
                    </a:cubicBezTo>
                    <a:cubicBezTo>
                      <a:pt x="90243" y="263452"/>
                      <a:pt x="78603" y="267330"/>
                      <a:pt x="69550" y="260866"/>
                    </a:cubicBezTo>
                    <a:cubicBezTo>
                      <a:pt x="2299" y="222081"/>
                      <a:pt x="-19687" y="136753"/>
                      <a:pt x="19112" y="69526"/>
                    </a:cubicBezTo>
                    <a:cubicBezTo>
                      <a:pt x="57910" y="2298"/>
                      <a:pt x="143267" y="-19680"/>
                      <a:pt x="210518" y="19105"/>
                    </a:cubicBezTo>
                    <a:cubicBezTo>
                      <a:pt x="277769" y="57890"/>
                      <a:pt x="299755" y="143218"/>
                      <a:pt x="260957" y="210445"/>
                    </a:cubicBezTo>
                    <a:cubicBezTo>
                      <a:pt x="245437" y="237595"/>
                      <a:pt x="219571" y="259573"/>
                      <a:pt x="189826" y="271209"/>
                    </a:cubicBezTo>
                    <a:cubicBezTo>
                      <a:pt x="185945" y="272501"/>
                      <a:pt x="183359" y="273794"/>
                      <a:pt x="182066" y="273794"/>
                    </a:cubicBezTo>
                    <a:close/>
                  </a:path>
                </a:pathLst>
              </a:custGeom>
              <a:solidFill>
                <a:srgbClr val="F99F27"/>
              </a:solidFill>
              <a:ln w="12931" cap="flat">
                <a:noFill/>
                <a:prstDash val="solid"/>
                <a:miter/>
              </a:ln>
            </p:spPr>
            <p:txBody>
              <a:bodyPr rtlCol="0" anchor="ctr"/>
              <a:lstStyle/>
              <a:p>
                <a:endParaRPr lang="en-US"/>
              </a:p>
            </p:txBody>
          </p:sp>
        </p:grpSp>
        <p:grpSp>
          <p:nvGrpSpPr>
            <p:cNvPr id="8" name="Graphic 4">
              <a:extLst>
                <a:ext uri="{FF2B5EF4-FFF2-40B4-BE49-F238E27FC236}">
                  <a16:creationId xmlns:a16="http://schemas.microsoft.com/office/drawing/2014/main" id="{E1C44782-A9E7-094C-9262-8120AE9D70CE}"/>
                </a:ext>
              </a:extLst>
            </p:cNvPr>
            <p:cNvGrpSpPr/>
            <p:nvPr/>
          </p:nvGrpSpPr>
          <p:grpSpPr>
            <a:xfrm>
              <a:off x="9129274" y="2893887"/>
              <a:ext cx="717139" cy="1211724"/>
              <a:chOff x="9129274" y="2893887"/>
              <a:chExt cx="717139" cy="1211724"/>
            </a:xfrm>
            <a:grpFill/>
          </p:grpSpPr>
          <p:sp>
            <p:nvSpPr>
              <p:cNvPr id="9" name="Freeform 50">
                <a:extLst>
                  <a:ext uri="{FF2B5EF4-FFF2-40B4-BE49-F238E27FC236}">
                    <a16:creationId xmlns:a16="http://schemas.microsoft.com/office/drawing/2014/main" id="{4498C5BB-1E22-7739-1380-79FF5CFA7110}"/>
                  </a:ext>
                </a:extLst>
              </p:cNvPr>
              <p:cNvSpPr/>
              <p:nvPr/>
            </p:nvSpPr>
            <p:spPr>
              <a:xfrm>
                <a:off x="9129274" y="3281518"/>
                <a:ext cx="222449" cy="606896"/>
              </a:xfrm>
              <a:custGeom>
                <a:avLst/>
                <a:gdLst>
                  <a:gd name="connsiteX0" fmla="*/ 200995 w 222449"/>
                  <a:gd name="connsiteY0" fmla="*/ 606896 h 606896"/>
                  <a:gd name="connsiteX1" fmla="*/ 193235 w 222449"/>
                  <a:gd name="connsiteY1" fmla="*/ 605603 h 606896"/>
                  <a:gd name="connsiteX2" fmla="*/ 173836 w 222449"/>
                  <a:gd name="connsiteY2" fmla="*/ 593968 h 606896"/>
                  <a:gd name="connsiteX3" fmla="*/ 169956 w 222449"/>
                  <a:gd name="connsiteY3" fmla="*/ 591382 h 606896"/>
                  <a:gd name="connsiteX4" fmla="*/ 107878 w 222449"/>
                  <a:gd name="connsiteY4" fmla="*/ 531912 h 606896"/>
                  <a:gd name="connsiteX5" fmla="*/ 62613 w 222449"/>
                  <a:gd name="connsiteY5" fmla="*/ 465977 h 606896"/>
                  <a:gd name="connsiteX6" fmla="*/ 8296 w 222449"/>
                  <a:gd name="connsiteY6" fmla="*/ 326350 h 606896"/>
                  <a:gd name="connsiteX7" fmla="*/ 4415 w 222449"/>
                  <a:gd name="connsiteY7" fmla="*/ 306958 h 606896"/>
                  <a:gd name="connsiteX8" fmla="*/ 3122 w 222449"/>
                  <a:gd name="connsiteY8" fmla="*/ 303079 h 606896"/>
                  <a:gd name="connsiteX9" fmla="*/ 1829 w 222449"/>
                  <a:gd name="connsiteY9" fmla="*/ 295322 h 606896"/>
                  <a:gd name="connsiteX10" fmla="*/ 536 w 222449"/>
                  <a:gd name="connsiteY10" fmla="*/ 279808 h 606896"/>
                  <a:gd name="connsiteX11" fmla="*/ 1829 w 222449"/>
                  <a:gd name="connsiteY11" fmla="*/ 243609 h 606896"/>
                  <a:gd name="connsiteX12" fmla="*/ 1829 w 222449"/>
                  <a:gd name="connsiteY12" fmla="*/ 238437 h 606896"/>
                  <a:gd name="connsiteX13" fmla="*/ 7002 w 222449"/>
                  <a:gd name="connsiteY13" fmla="*/ 197067 h 606896"/>
                  <a:gd name="connsiteX14" fmla="*/ 9589 w 222449"/>
                  <a:gd name="connsiteY14" fmla="*/ 175088 h 606896"/>
                  <a:gd name="connsiteX15" fmla="*/ 13468 w 222449"/>
                  <a:gd name="connsiteY15" fmla="*/ 66490 h 606896"/>
                  <a:gd name="connsiteX16" fmla="*/ 13468 w 222449"/>
                  <a:gd name="connsiteY16" fmla="*/ 65197 h 606896"/>
                  <a:gd name="connsiteX17" fmla="*/ 63907 w 222449"/>
                  <a:gd name="connsiteY17" fmla="*/ 555 h 606896"/>
                  <a:gd name="connsiteX18" fmla="*/ 125984 w 222449"/>
                  <a:gd name="connsiteY18" fmla="*/ 39341 h 606896"/>
                  <a:gd name="connsiteX19" fmla="*/ 153143 w 222449"/>
                  <a:gd name="connsiteY19" fmla="*/ 177674 h 606896"/>
                  <a:gd name="connsiteX20" fmla="*/ 155730 w 222449"/>
                  <a:gd name="connsiteY20" fmla="*/ 200945 h 606896"/>
                  <a:gd name="connsiteX21" fmla="*/ 159610 w 222449"/>
                  <a:gd name="connsiteY21" fmla="*/ 238437 h 606896"/>
                  <a:gd name="connsiteX22" fmla="*/ 191942 w 222449"/>
                  <a:gd name="connsiteY22" fmla="*/ 314715 h 606896"/>
                  <a:gd name="connsiteX23" fmla="*/ 193235 w 222449"/>
                  <a:gd name="connsiteY23" fmla="*/ 341864 h 606896"/>
                  <a:gd name="connsiteX24" fmla="*/ 166076 w 222449"/>
                  <a:gd name="connsiteY24" fmla="*/ 343157 h 606896"/>
                  <a:gd name="connsiteX25" fmla="*/ 120811 w 222449"/>
                  <a:gd name="connsiteY25" fmla="*/ 243609 h 606896"/>
                  <a:gd name="connsiteX26" fmla="*/ 116931 w 222449"/>
                  <a:gd name="connsiteY26" fmla="*/ 204824 h 606896"/>
                  <a:gd name="connsiteX27" fmla="*/ 114345 w 222449"/>
                  <a:gd name="connsiteY27" fmla="*/ 181553 h 606896"/>
                  <a:gd name="connsiteX28" fmla="*/ 89773 w 222449"/>
                  <a:gd name="connsiteY28" fmla="*/ 52269 h 606896"/>
                  <a:gd name="connsiteX29" fmla="*/ 69080 w 222449"/>
                  <a:gd name="connsiteY29" fmla="*/ 39341 h 606896"/>
                  <a:gd name="connsiteX30" fmla="*/ 52267 w 222449"/>
                  <a:gd name="connsiteY30" fmla="*/ 61319 h 606896"/>
                  <a:gd name="connsiteX31" fmla="*/ 52267 w 222449"/>
                  <a:gd name="connsiteY31" fmla="*/ 62611 h 606896"/>
                  <a:gd name="connsiteX32" fmla="*/ 48387 w 222449"/>
                  <a:gd name="connsiteY32" fmla="*/ 180260 h 606896"/>
                  <a:gd name="connsiteX33" fmla="*/ 45801 w 222449"/>
                  <a:gd name="connsiteY33" fmla="*/ 202238 h 606896"/>
                  <a:gd name="connsiteX34" fmla="*/ 40628 w 222449"/>
                  <a:gd name="connsiteY34" fmla="*/ 242316 h 606896"/>
                  <a:gd name="connsiteX35" fmla="*/ 40628 w 222449"/>
                  <a:gd name="connsiteY35" fmla="*/ 246195 h 606896"/>
                  <a:gd name="connsiteX36" fmla="*/ 39334 w 222449"/>
                  <a:gd name="connsiteY36" fmla="*/ 277223 h 606896"/>
                  <a:gd name="connsiteX37" fmla="*/ 40628 w 222449"/>
                  <a:gd name="connsiteY37" fmla="*/ 288858 h 606896"/>
                  <a:gd name="connsiteX38" fmla="*/ 41921 w 222449"/>
                  <a:gd name="connsiteY38" fmla="*/ 296615 h 606896"/>
                  <a:gd name="connsiteX39" fmla="*/ 43214 w 222449"/>
                  <a:gd name="connsiteY39" fmla="*/ 300494 h 606896"/>
                  <a:gd name="connsiteX40" fmla="*/ 47094 w 222449"/>
                  <a:gd name="connsiteY40" fmla="*/ 317301 h 606896"/>
                  <a:gd name="connsiteX41" fmla="*/ 97532 w 222449"/>
                  <a:gd name="connsiteY41" fmla="*/ 446584 h 606896"/>
                  <a:gd name="connsiteX42" fmla="*/ 138917 w 222449"/>
                  <a:gd name="connsiteY42" fmla="*/ 507348 h 606896"/>
                  <a:gd name="connsiteX43" fmla="*/ 194528 w 222449"/>
                  <a:gd name="connsiteY43" fmla="*/ 561647 h 606896"/>
                  <a:gd name="connsiteX44" fmla="*/ 198408 w 222449"/>
                  <a:gd name="connsiteY44" fmla="*/ 564233 h 606896"/>
                  <a:gd name="connsiteX45" fmla="*/ 211341 w 222449"/>
                  <a:gd name="connsiteY45" fmla="*/ 571990 h 606896"/>
                  <a:gd name="connsiteX46" fmla="*/ 220394 w 222449"/>
                  <a:gd name="connsiteY46" fmla="*/ 597846 h 606896"/>
                  <a:gd name="connsiteX47" fmla="*/ 200995 w 222449"/>
                  <a:gd name="connsiteY47" fmla="*/ 606896 h 60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2449" h="606896">
                    <a:moveTo>
                      <a:pt x="200995" y="606896"/>
                    </a:moveTo>
                    <a:cubicBezTo>
                      <a:pt x="198408" y="606896"/>
                      <a:pt x="195822" y="606896"/>
                      <a:pt x="193235" y="605603"/>
                    </a:cubicBezTo>
                    <a:cubicBezTo>
                      <a:pt x="186769" y="601725"/>
                      <a:pt x="180303" y="597846"/>
                      <a:pt x="173836" y="593968"/>
                    </a:cubicBezTo>
                    <a:lnTo>
                      <a:pt x="169956" y="591382"/>
                    </a:lnTo>
                    <a:cubicBezTo>
                      <a:pt x="147970" y="574575"/>
                      <a:pt x="125984" y="553890"/>
                      <a:pt x="107878" y="531912"/>
                    </a:cubicBezTo>
                    <a:cubicBezTo>
                      <a:pt x="91066" y="511226"/>
                      <a:pt x="75546" y="489248"/>
                      <a:pt x="62613" y="465977"/>
                    </a:cubicBezTo>
                    <a:cubicBezTo>
                      <a:pt x="38041" y="422020"/>
                      <a:pt x="21229" y="376771"/>
                      <a:pt x="8296" y="326350"/>
                    </a:cubicBezTo>
                    <a:cubicBezTo>
                      <a:pt x="7002" y="319886"/>
                      <a:pt x="5709" y="313422"/>
                      <a:pt x="4415" y="306958"/>
                    </a:cubicBezTo>
                    <a:lnTo>
                      <a:pt x="3122" y="303079"/>
                    </a:lnTo>
                    <a:cubicBezTo>
                      <a:pt x="3122" y="300494"/>
                      <a:pt x="1829" y="297908"/>
                      <a:pt x="1829" y="295322"/>
                    </a:cubicBezTo>
                    <a:cubicBezTo>
                      <a:pt x="536" y="288858"/>
                      <a:pt x="536" y="283687"/>
                      <a:pt x="536" y="279808"/>
                    </a:cubicBezTo>
                    <a:cubicBezTo>
                      <a:pt x="-757" y="264294"/>
                      <a:pt x="536" y="253951"/>
                      <a:pt x="1829" y="243609"/>
                    </a:cubicBezTo>
                    <a:lnTo>
                      <a:pt x="1829" y="238437"/>
                    </a:lnTo>
                    <a:cubicBezTo>
                      <a:pt x="3122" y="222923"/>
                      <a:pt x="4415" y="209995"/>
                      <a:pt x="7002" y="197067"/>
                    </a:cubicBezTo>
                    <a:cubicBezTo>
                      <a:pt x="8296" y="189310"/>
                      <a:pt x="8296" y="182845"/>
                      <a:pt x="9589" y="175088"/>
                    </a:cubicBezTo>
                    <a:cubicBezTo>
                      <a:pt x="14762" y="132425"/>
                      <a:pt x="17348" y="97518"/>
                      <a:pt x="13468" y="66490"/>
                    </a:cubicBezTo>
                    <a:lnTo>
                      <a:pt x="13468" y="65197"/>
                    </a:lnTo>
                    <a:cubicBezTo>
                      <a:pt x="9589" y="32876"/>
                      <a:pt x="32868" y="4434"/>
                      <a:pt x="63907" y="555"/>
                    </a:cubicBezTo>
                    <a:cubicBezTo>
                      <a:pt x="91066" y="-3323"/>
                      <a:pt x="116931" y="13484"/>
                      <a:pt x="125984" y="39341"/>
                    </a:cubicBezTo>
                    <a:cubicBezTo>
                      <a:pt x="142797" y="85883"/>
                      <a:pt x="147970" y="131132"/>
                      <a:pt x="153143" y="177674"/>
                    </a:cubicBezTo>
                    <a:cubicBezTo>
                      <a:pt x="154437" y="185431"/>
                      <a:pt x="154437" y="193188"/>
                      <a:pt x="155730" y="200945"/>
                    </a:cubicBezTo>
                    <a:cubicBezTo>
                      <a:pt x="157024" y="213874"/>
                      <a:pt x="158317" y="226802"/>
                      <a:pt x="159610" y="238437"/>
                    </a:cubicBezTo>
                    <a:cubicBezTo>
                      <a:pt x="166076" y="284980"/>
                      <a:pt x="185475" y="306958"/>
                      <a:pt x="191942" y="314715"/>
                    </a:cubicBezTo>
                    <a:cubicBezTo>
                      <a:pt x="199702" y="322472"/>
                      <a:pt x="199702" y="334107"/>
                      <a:pt x="193235" y="341864"/>
                    </a:cubicBezTo>
                    <a:cubicBezTo>
                      <a:pt x="185475" y="349622"/>
                      <a:pt x="173836" y="349622"/>
                      <a:pt x="166076" y="343157"/>
                    </a:cubicBezTo>
                    <a:cubicBezTo>
                      <a:pt x="153143" y="330229"/>
                      <a:pt x="129864" y="301786"/>
                      <a:pt x="120811" y="243609"/>
                    </a:cubicBezTo>
                    <a:cubicBezTo>
                      <a:pt x="119518" y="230680"/>
                      <a:pt x="118225" y="217752"/>
                      <a:pt x="116931" y="204824"/>
                    </a:cubicBezTo>
                    <a:cubicBezTo>
                      <a:pt x="115638" y="197067"/>
                      <a:pt x="115638" y="189310"/>
                      <a:pt x="114345" y="181553"/>
                    </a:cubicBezTo>
                    <a:cubicBezTo>
                      <a:pt x="109172" y="136303"/>
                      <a:pt x="103998" y="94932"/>
                      <a:pt x="89773" y="52269"/>
                    </a:cubicBezTo>
                    <a:cubicBezTo>
                      <a:pt x="87186" y="43219"/>
                      <a:pt x="78133" y="38048"/>
                      <a:pt x="69080" y="39341"/>
                    </a:cubicBezTo>
                    <a:cubicBezTo>
                      <a:pt x="58733" y="40633"/>
                      <a:pt x="50974" y="50976"/>
                      <a:pt x="52267" y="61319"/>
                    </a:cubicBezTo>
                    <a:lnTo>
                      <a:pt x="52267" y="62611"/>
                    </a:lnTo>
                    <a:cubicBezTo>
                      <a:pt x="56147" y="97518"/>
                      <a:pt x="53561" y="135010"/>
                      <a:pt x="48387" y="180260"/>
                    </a:cubicBezTo>
                    <a:cubicBezTo>
                      <a:pt x="47094" y="188017"/>
                      <a:pt x="47094" y="194481"/>
                      <a:pt x="45801" y="202238"/>
                    </a:cubicBezTo>
                    <a:cubicBezTo>
                      <a:pt x="44508" y="215166"/>
                      <a:pt x="41921" y="228095"/>
                      <a:pt x="40628" y="242316"/>
                    </a:cubicBezTo>
                    <a:lnTo>
                      <a:pt x="40628" y="246195"/>
                    </a:lnTo>
                    <a:cubicBezTo>
                      <a:pt x="39334" y="256537"/>
                      <a:pt x="39334" y="265587"/>
                      <a:pt x="39334" y="277223"/>
                    </a:cubicBezTo>
                    <a:cubicBezTo>
                      <a:pt x="39334" y="279808"/>
                      <a:pt x="40628" y="284980"/>
                      <a:pt x="40628" y="288858"/>
                    </a:cubicBezTo>
                    <a:cubicBezTo>
                      <a:pt x="40628" y="292737"/>
                      <a:pt x="41921" y="294030"/>
                      <a:pt x="41921" y="296615"/>
                    </a:cubicBezTo>
                    <a:lnTo>
                      <a:pt x="43214" y="300494"/>
                    </a:lnTo>
                    <a:cubicBezTo>
                      <a:pt x="44508" y="305665"/>
                      <a:pt x="45801" y="312129"/>
                      <a:pt x="47094" y="317301"/>
                    </a:cubicBezTo>
                    <a:cubicBezTo>
                      <a:pt x="58733" y="363843"/>
                      <a:pt x="75546" y="406506"/>
                      <a:pt x="97532" y="446584"/>
                    </a:cubicBezTo>
                    <a:cubicBezTo>
                      <a:pt x="109172" y="468563"/>
                      <a:pt x="123398" y="487955"/>
                      <a:pt x="138917" y="507348"/>
                    </a:cubicBezTo>
                    <a:cubicBezTo>
                      <a:pt x="155730" y="526740"/>
                      <a:pt x="175129" y="544840"/>
                      <a:pt x="194528" y="561647"/>
                    </a:cubicBezTo>
                    <a:lnTo>
                      <a:pt x="198408" y="564233"/>
                    </a:lnTo>
                    <a:cubicBezTo>
                      <a:pt x="202289" y="566818"/>
                      <a:pt x="206168" y="569404"/>
                      <a:pt x="211341" y="571990"/>
                    </a:cubicBezTo>
                    <a:cubicBezTo>
                      <a:pt x="220394" y="577161"/>
                      <a:pt x="225568" y="587504"/>
                      <a:pt x="220394" y="597846"/>
                    </a:cubicBezTo>
                    <a:cubicBezTo>
                      <a:pt x="215222" y="603018"/>
                      <a:pt x="207461" y="606896"/>
                      <a:pt x="200995" y="606896"/>
                    </a:cubicBezTo>
                    <a:close/>
                  </a:path>
                </a:pathLst>
              </a:custGeom>
              <a:grpFill/>
              <a:ln w="12931" cap="flat">
                <a:noFill/>
                <a:prstDash val="solid"/>
                <a:miter/>
              </a:ln>
            </p:spPr>
            <p:txBody>
              <a:bodyPr rtlCol="0" anchor="ctr"/>
              <a:lstStyle/>
              <a:p>
                <a:endParaRPr lang="en-US"/>
              </a:p>
            </p:txBody>
          </p:sp>
          <p:sp>
            <p:nvSpPr>
              <p:cNvPr id="10" name="Freeform 51">
                <a:extLst>
                  <a:ext uri="{FF2B5EF4-FFF2-40B4-BE49-F238E27FC236}">
                    <a16:creationId xmlns:a16="http://schemas.microsoft.com/office/drawing/2014/main" id="{1313DEFC-8ECE-9BFE-5917-9963DB2A78EC}"/>
                  </a:ext>
                </a:extLst>
              </p:cNvPr>
              <p:cNvSpPr/>
              <p:nvPr/>
            </p:nvSpPr>
            <p:spPr>
              <a:xfrm>
                <a:off x="9683286" y="3335599"/>
                <a:ext cx="163004" cy="201164"/>
              </a:xfrm>
              <a:custGeom>
                <a:avLst/>
                <a:gdLst>
                  <a:gd name="connsiteX0" fmla="*/ 143605 w 163004"/>
                  <a:gd name="connsiteY0" fmla="*/ 201164 h 201164"/>
                  <a:gd name="connsiteX1" fmla="*/ 124206 w 163004"/>
                  <a:gd name="connsiteY1" fmla="*/ 181772 h 201164"/>
                  <a:gd name="connsiteX2" fmla="*/ 82820 w 163004"/>
                  <a:gd name="connsiteY2" fmla="*/ 57659 h 201164"/>
                  <a:gd name="connsiteX3" fmla="*/ 29796 w 163004"/>
                  <a:gd name="connsiteY3" fmla="*/ 44731 h 201164"/>
                  <a:gd name="connsiteX4" fmla="*/ 2636 w 163004"/>
                  <a:gd name="connsiteY4" fmla="*/ 38266 h 201164"/>
                  <a:gd name="connsiteX5" fmla="*/ 9103 w 163004"/>
                  <a:gd name="connsiteY5" fmla="*/ 11117 h 201164"/>
                  <a:gd name="connsiteX6" fmla="*/ 116445 w 163004"/>
                  <a:gd name="connsiteY6" fmla="*/ 36974 h 201164"/>
                  <a:gd name="connsiteX7" fmla="*/ 163004 w 163004"/>
                  <a:gd name="connsiteY7" fmla="*/ 181772 h 201164"/>
                  <a:gd name="connsiteX8" fmla="*/ 143605 w 163004"/>
                  <a:gd name="connsiteY8" fmla="*/ 201164 h 201164"/>
                  <a:gd name="connsiteX9" fmla="*/ 143605 w 163004"/>
                  <a:gd name="connsiteY9" fmla="*/ 201164 h 20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04" h="201164">
                    <a:moveTo>
                      <a:pt x="143605" y="201164"/>
                    </a:moveTo>
                    <a:cubicBezTo>
                      <a:pt x="133259" y="201164"/>
                      <a:pt x="124206" y="192114"/>
                      <a:pt x="124206" y="181772"/>
                    </a:cubicBezTo>
                    <a:cubicBezTo>
                      <a:pt x="124206" y="132644"/>
                      <a:pt x="108686" y="99030"/>
                      <a:pt x="82820" y="57659"/>
                    </a:cubicBezTo>
                    <a:cubicBezTo>
                      <a:pt x="71180" y="39559"/>
                      <a:pt x="47901" y="33095"/>
                      <a:pt x="29796" y="44731"/>
                    </a:cubicBezTo>
                    <a:cubicBezTo>
                      <a:pt x="20743" y="49902"/>
                      <a:pt x="9103" y="47316"/>
                      <a:pt x="2636" y="38266"/>
                    </a:cubicBezTo>
                    <a:cubicBezTo>
                      <a:pt x="-2536" y="29217"/>
                      <a:pt x="50" y="17581"/>
                      <a:pt x="9103" y="11117"/>
                    </a:cubicBezTo>
                    <a:cubicBezTo>
                      <a:pt x="45315" y="-10861"/>
                      <a:pt x="93166" y="774"/>
                      <a:pt x="116445" y="36974"/>
                    </a:cubicBezTo>
                    <a:cubicBezTo>
                      <a:pt x="144898" y="83516"/>
                      <a:pt x="163004" y="123594"/>
                      <a:pt x="163004" y="181772"/>
                    </a:cubicBezTo>
                    <a:cubicBezTo>
                      <a:pt x="163004" y="192114"/>
                      <a:pt x="155244" y="201164"/>
                      <a:pt x="143605" y="201164"/>
                    </a:cubicBezTo>
                    <a:cubicBezTo>
                      <a:pt x="143605" y="201164"/>
                      <a:pt x="143605" y="201164"/>
                      <a:pt x="143605" y="201164"/>
                    </a:cubicBezTo>
                    <a:close/>
                  </a:path>
                </a:pathLst>
              </a:custGeom>
              <a:grpFill/>
              <a:ln w="12931" cap="flat">
                <a:noFill/>
                <a:prstDash val="solid"/>
                <a:miter/>
              </a:ln>
            </p:spPr>
            <p:txBody>
              <a:bodyPr rtlCol="0" anchor="ctr"/>
              <a:lstStyle/>
              <a:p>
                <a:endParaRPr lang="en-US"/>
              </a:p>
            </p:txBody>
          </p:sp>
          <p:sp>
            <p:nvSpPr>
              <p:cNvPr id="11" name="Freeform 52">
                <a:extLst>
                  <a:ext uri="{FF2B5EF4-FFF2-40B4-BE49-F238E27FC236}">
                    <a16:creationId xmlns:a16="http://schemas.microsoft.com/office/drawing/2014/main" id="{1FAD6608-078D-D25B-6D86-8F4B7320394A}"/>
                  </a:ext>
                </a:extLst>
              </p:cNvPr>
              <p:cNvSpPr/>
              <p:nvPr/>
            </p:nvSpPr>
            <p:spPr>
              <a:xfrm>
                <a:off x="9546086" y="3281250"/>
                <a:ext cx="205957" cy="241291"/>
              </a:xfrm>
              <a:custGeom>
                <a:avLst/>
                <a:gdLst>
                  <a:gd name="connsiteX0" fmla="*/ 187688 w 205957"/>
                  <a:gd name="connsiteY0" fmla="*/ 241292 h 241291"/>
                  <a:gd name="connsiteX1" fmla="*/ 168289 w 205957"/>
                  <a:gd name="connsiteY1" fmla="*/ 224485 h 241291"/>
                  <a:gd name="connsiteX2" fmla="*/ 135957 w 205957"/>
                  <a:gd name="connsiteY2" fmla="*/ 132693 h 241291"/>
                  <a:gd name="connsiteX3" fmla="*/ 108798 w 205957"/>
                  <a:gd name="connsiteY3" fmla="*/ 69344 h 241291"/>
                  <a:gd name="connsiteX4" fmla="*/ 75172 w 205957"/>
                  <a:gd name="connsiteY4" fmla="*/ 39609 h 241291"/>
                  <a:gd name="connsiteX5" fmla="*/ 35081 w 205957"/>
                  <a:gd name="connsiteY5" fmla="*/ 61587 h 241291"/>
                  <a:gd name="connsiteX6" fmla="*/ 7921 w 205957"/>
                  <a:gd name="connsiteY6" fmla="*/ 65466 h 241291"/>
                  <a:gd name="connsiteX7" fmla="*/ 4041 w 205957"/>
                  <a:gd name="connsiteY7" fmla="*/ 38316 h 241291"/>
                  <a:gd name="connsiteX8" fmla="*/ 81639 w 205957"/>
                  <a:gd name="connsiteY8" fmla="*/ 824 h 241291"/>
                  <a:gd name="connsiteX9" fmla="*/ 146303 w 205957"/>
                  <a:gd name="connsiteY9" fmla="*/ 56416 h 241291"/>
                  <a:gd name="connsiteX10" fmla="*/ 170876 w 205957"/>
                  <a:gd name="connsiteY10" fmla="*/ 115887 h 241291"/>
                  <a:gd name="connsiteX11" fmla="*/ 205794 w 205957"/>
                  <a:gd name="connsiteY11" fmla="*/ 218021 h 241291"/>
                  <a:gd name="connsiteX12" fmla="*/ 188981 w 205957"/>
                  <a:gd name="connsiteY12" fmla="*/ 239999 h 241291"/>
                  <a:gd name="connsiteX13" fmla="*/ 187688 w 205957"/>
                  <a:gd name="connsiteY13" fmla="*/ 241292 h 24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57" h="241291">
                    <a:moveTo>
                      <a:pt x="187688" y="241292"/>
                    </a:moveTo>
                    <a:cubicBezTo>
                      <a:pt x="178635" y="241292"/>
                      <a:pt x="169582" y="234828"/>
                      <a:pt x="168289" y="224485"/>
                    </a:cubicBezTo>
                    <a:cubicBezTo>
                      <a:pt x="163115" y="189578"/>
                      <a:pt x="148890" y="161136"/>
                      <a:pt x="135957" y="132693"/>
                    </a:cubicBezTo>
                    <a:cubicBezTo>
                      <a:pt x="126904" y="113301"/>
                      <a:pt x="116557" y="92615"/>
                      <a:pt x="108798" y="69344"/>
                    </a:cubicBezTo>
                    <a:cubicBezTo>
                      <a:pt x="104918" y="59002"/>
                      <a:pt x="91985" y="42195"/>
                      <a:pt x="75172" y="39609"/>
                    </a:cubicBezTo>
                    <a:cubicBezTo>
                      <a:pt x="62239" y="37023"/>
                      <a:pt x="48013" y="44780"/>
                      <a:pt x="35081" y="61587"/>
                    </a:cubicBezTo>
                    <a:cubicBezTo>
                      <a:pt x="28614" y="70637"/>
                      <a:pt x="16974" y="71930"/>
                      <a:pt x="7921" y="65466"/>
                    </a:cubicBezTo>
                    <a:cubicBezTo>
                      <a:pt x="-1131" y="59002"/>
                      <a:pt x="-2425" y="47366"/>
                      <a:pt x="4041" y="38316"/>
                    </a:cubicBezTo>
                    <a:cubicBezTo>
                      <a:pt x="32494" y="-469"/>
                      <a:pt x="64826" y="-1762"/>
                      <a:pt x="81639" y="824"/>
                    </a:cubicBezTo>
                    <a:cubicBezTo>
                      <a:pt x="113971" y="5995"/>
                      <a:pt x="138543" y="33145"/>
                      <a:pt x="146303" y="56416"/>
                    </a:cubicBezTo>
                    <a:cubicBezTo>
                      <a:pt x="154063" y="78394"/>
                      <a:pt x="163115" y="97787"/>
                      <a:pt x="170876" y="115887"/>
                    </a:cubicBezTo>
                    <a:cubicBezTo>
                      <a:pt x="185101" y="145622"/>
                      <a:pt x="200621" y="177943"/>
                      <a:pt x="205794" y="218021"/>
                    </a:cubicBezTo>
                    <a:cubicBezTo>
                      <a:pt x="207087" y="228363"/>
                      <a:pt x="200621" y="238706"/>
                      <a:pt x="188981" y="239999"/>
                    </a:cubicBezTo>
                    <a:cubicBezTo>
                      <a:pt x="188981" y="241292"/>
                      <a:pt x="188981" y="241292"/>
                      <a:pt x="187688" y="241292"/>
                    </a:cubicBezTo>
                    <a:close/>
                  </a:path>
                </a:pathLst>
              </a:custGeom>
              <a:grpFill/>
              <a:ln w="12931" cap="flat">
                <a:noFill/>
                <a:prstDash val="solid"/>
                <a:miter/>
              </a:ln>
            </p:spPr>
            <p:txBody>
              <a:bodyPr rtlCol="0" anchor="ctr"/>
              <a:lstStyle/>
              <a:p>
                <a:endParaRPr lang="en-US"/>
              </a:p>
            </p:txBody>
          </p:sp>
          <p:sp>
            <p:nvSpPr>
              <p:cNvPr id="12" name="Freeform 53">
                <a:extLst>
                  <a:ext uri="{FF2B5EF4-FFF2-40B4-BE49-F238E27FC236}">
                    <a16:creationId xmlns:a16="http://schemas.microsoft.com/office/drawing/2014/main" id="{C3AFE2EB-6CCB-BC0E-A3FD-668C21F69031}"/>
                  </a:ext>
                </a:extLst>
              </p:cNvPr>
              <p:cNvSpPr/>
              <p:nvPr/>
            </p:nvSpPr>
            <p:spPr>
              <a:xfrm>
                <a:off x="9432178" y="3236028"/>
                <a:ext cx="185859" cy="216700"/>
              </a:xfrm>
              <a:custGeom>
                <a:avLst/>
                <a:gdLst>
                  <a:gd name="connsiteX0" fmla="*/ 165801 w 185859"/>
                  <a:gd name="connsiteY0" fmla="*/ 216700 h 216700"/>
                  <a:gd name="connsiteX1" fmla="*/ 147695 w 185859"/>
                  <a:gd name="connsiteY1" fmla="*/ 202479 h 216700"/>
                  <a:gd name="connsiteX2" fmla="*/ 141228 w 185859"/>
                  <a:gd name="connsiteY2" fmla="*/ 179208 h 216700"/>
                  <a:gd name="connsiteX3" fmla="*/ 139935 w 185859"/>
                  <a:gd name="connsiteY3" fmla="*/ 176622 h 216700"/>
                  <a:gd name="connsiteX4" fmla="*/ 102430 w 185859"/>
                  <a:gd name="connsiteY4" fmla="*/ 64146 h 216700"/>
                  <a:gd name="connsiteX5" fmla="*/ 68805 w 185859"/>
                  <a:gd name="connsiteY5" fmla="*/ 38289 h 216700"/>
                  <a:gd name="connsiteX6" fmla="*/ 33886 w 185859"/>
                  <a:gd name="connsiteY6" fmla="*/ 55096 h 216700"/>
                  <a:gd name="connsiteX7" fmla="*/ 6727 w 185859"/>
                  <a:gd name="connsiteY7" fmla="*/ 57681 h 216700"/>
                  <a:gd name="connsiteX8" fmla="*/ 4140 w 185859"/>
                  <a:gd name="connsiteY8" fmla="*/ 30532 h 216700"/>
                  <a:gd name="connsiteX9" fmla="*/ 75271 w 185859"/>
                  <a:gd name="connsiteY9" fmla="*/ 797 h 216700"/>
                  <a:gd name="connsiteX10" fmla="*/ 138642 w 185859"/>
                  <a:gd name="connsiteY10" fmla="*/ 49924 h 216700"/>
                  <a:gd name="connsiteX11" fmla="*/ 177441 w 185859"/>
                  <a:gd name="connsiteY11" fmla="*/ 166280 h 216700"/>
                  <a:gd name="connsiteX12" fmla="*/ 178734 w 185859"/>
                  <a:gd name="connsiteY12" fmla="*/ 168866 h 216700"/>
                  <a:gd name="connsiteX13" fmla="*/ 185200 w 185859"/>
                  <a:gd name="connsiteY13" fmla="*/ 192136 h 216700"/>
                  <a:gd name="connsiteX14" fmla="*/ 172268 w 185859"/>
                  <a:gd name="connsiteY14" fmla="*/ 216700 h 216700"/>
                  <a:gd name="connsiteX15" fmla="*/ 165801 w 185859"/>
                  <a:gd name="connsiteY15" fmla="*/ 216700 h 21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859" h="216700">
                    <a:moveTo>
                      <a:pt x="165801" y="216700"/>
                    </a:moveTo>
                    <a:cubicBezTo>
                      <a:pt x="158042" y="216700"/>
                      <a:pt x="150282" y="211529"/>
                      <a:pt x="147695" y="202479"/>
                    </a:cubicBezTo>
                    <a:cubicBezTo>
                      <a:pt x="145109" y="194722"/>
                      <a:pt x="142522" y="186965"/>
                      <a:pt x="141228" y="179208"/>
                    </a:cubicBezTo>
                    <a:lnTo>
                      <a:pt x="139935" y="176622"/>
                    </a:lnTo>
                    <a:cubicBezTo>
                      <a:pt x="129589" y="141716"/>
                      <a:pt x="123123" y="114566"/>
                      <a:pt x="102430" y="64146"/>
                    </a:cubicBezTo>
                    <a:cubicBezTo>
                      <a:pt x="98550" y="53803"/>
                      <a:pt x="84324" y="40875"/>
                      <a:pt x="68805" y="38289"/>
                    </a:cubicBezTo>
                    <a:cubicBezTo>
                      <a:pt x="55872" y="35703"/>
                      <a:pt x="44232" y="42167"/>
                      <a:pt x="33886" y="55096"/>
                    </a:cubicBezTo>
                    <a:cubicBezTo>
                      <a:pt x="27419" y="62853"/>
                      <a:pt x="14487" y="64146"/>
                      <a:pt x="6727" y="57681"/>
                    </a:cubicBezTo>
                    <a:cubicBezTo>
                      <a:pt x="-1033" y="51217"/>
                      <a:pt x="-2326" y="38289"/>
                      <a:pt x="4140" y="30532"/>
                    </a:cubicBezTo>
                    <a:cubicBezTo>
                      <a:pt x="23540" y="7261"/>
                      <a:pt x="49405" y="-3082"/>
                      <a:pt x="75271" y="797"/>
                    </a:cubicBezTo>
                    <a:cubicBezTo>
                      <a:pt x="102430" y="4675"/>
                      <a:pt x="128296" y="25360"/>
                      <a:pt x="138642" y="49924"/>
                    </a:cubicBezTo>
                    <a:cubicBezTo>
                      <a:pt x="159335" y="102931"/>
                      <a:pt x="167094" y="130080"/>
                      <a:pt x="177441" y="166280"/>
                    </a:cubicBezTo>
                    <a:lnTo>
                      <a:pt x="178734" y="168866"/>
                    </a:lnTo>
                    <a:cubicBezTo>
                      <a:pt x="181321" y="175330"/>
                      <a:pt x="182614" y="183087"/>
                      <a:pt x="185200" y="192136"/>
                    </a:cubicBezTo>
                    <a:cubicBezTo>
                      <a:pt x="187787" y="202479"/>
                      <a:pt x="182614" y="212822"/>
                      <a:pt x="172268" y="216700"/>
                    </a:cubicBezTo>
                    <a:cubicBezTo>
                      <a:pt x="168388" y="215408"/>
                      <a:pt x="167094" y="216700"/>
                      <a:pt x="165801" y="216700"/>
                    </a:cubicBezTo>
                    <a:close/>
                  </a:path>
                </a:pathLst>
              </a:custGeom>
              <a:grpFill/>
              <a:ln w="12931" cap="flat">
                <a:noFill/>
                <a:prstDash val="solid"/>
                <a:miter/>
              </a:ln>
            </p:spPr>
            <p:txBody>
              <a:bodyPr rtlCol="0" anchor="ctr"/>
              <a:lstStyle/>
              <a:p>
                <a:endParaRPr lang="en-US"/>
              </a:p>
            </p:txBody>
          </p:sp>
          <p:sp>
            <p:nvSpPr>
              <p:cNvPr id="13" name="Freeform 54">
                <a:extLst>
                  <a:ext uri="{FF2B5EF4-FFF2-40B4-BE49-F238E27FC236}">
                    <a16:creationId xmlns:a16="http://schemas.microsoft.com/office/drawing/2014/main" id="{95E81E78-0205-250A-F883-F16E202FA741}"/>
                  </a:ext>
                </a:extLst>
              </p:cNvPr>
              <p:cNvSpPr/>
              <p:nvPr/>
            </p:nvSpPr>
            <p:spPr>
              <a:xfrm>
                <a:off x="9312890" y="3851649"/>
                <a:ext cx="85195" cy="252669"/>
              </a:xfrm>
              <a:custGeom>
                <a:avLst/>
                <a:gdLst>
                  <a:gd name="connsiteX0" fmla="*/ 65230 w 85195"/>
                  <a:gd name="connsiteY0" fmla="*/ 252669 h 252669"/>
                  <a:gd name="connsiteX1" fmla="*/ 45831 w 85195"/>
                  <a:gd name="connsiteY1" fmla="*/ 237155 h 252669"/>
                  <a:gd name="connsiteX2" fmla="*/ 566 w 85195"/>
                  <a:gd name="connsiteY2" fmla="*/ 23837 h 252669"/>
                  <a:gd name="connsiteX3" fmla="*/ 16086 w 85195"/>
                  <a:gd name="connsiteY3" fmla="*/ 566 h 252669"/>
                  <a:gd name="connsiteX4" fmla="*/ 39365 w 85195"/>
                  <a:gd name="connsiteY4" fmla="*/ 16080 h 252669"/>
                  <a:gd name="connsiteX5" fmla="*/ 84630 w 85195"/>
                  <a:gd name="connsiteY5" fmla="*/ 229398 h 252669"/>
                  <a:gd name="connsiteX6" fmla="*/ 69110 w 85195"/>
                  <a:gd name="connsiteY6" fmla="*/ 252669 h 252669"/>
                  <a:gd name="connsiteX7" fmla="*/ 65230 w 85195"/>
                  <a:gd name="connsiteY7" fmla="*/ 252669 h 2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95" h="252669">
                    <a:moveTo>
                      <a:pt x="65230" y="252669"/>
                    </a:moveTo>
                    <a:cubicBezTo>
                      <a:pt x="56177" y="252669"/>
                      <a:pt x="48418" y="246205"/>
                      <a:pt x="45831" y="237155"/>
                    </a:cubicBezTo>
                    <a:lnTo>
                      <a:pt x="566" y="23837"/>
                    </a:lnTo>
                    <a:cubicBezTo>
                      <a:pt x="-2021" y="13494"/>
                      <a:pt x="4446" y="3152"/>
                      <a:pt x="16086" y="566"/>
                    </a:cubicBezTo>
                    <a:cubicBezTo>
                      <a:pt x="26432" y="-2020"/>
                      <a:pt x="36778" y="4444"/>
                      <a:pt x="39365" y="16080"/>
                    </a:cubicBezTo>
                    <a:lnTo>
                      <a:pt x="84630" y="229398"/>
                    </a:lnTo>
                    <a:cubicBezTo>
                      <a:pt x="87217" y="239741"/>
                      <a:pt x="80750" y="250084"/>
                      <a:pt x="69110" y="252669"/>
                    </a:cubicBezTo>
                    <a:cubicBezTo>
                      <a:pt x="67817" y="252669"/>
                      <a:pt x="66523" y="252669"/>
                      <a:pt x="65230" y="252669"/>
                    </a:cubicBezTo>
                    <a:close/>
                  </a:path>
                </a:pathLst>
              </a:custGeom>
              <a:grpFill/>
              <a:ln w="12931" cap="flat">
                <a:noFill/>
                <a:prstDash val="solid"/>
                <a:miter/>
              </a:ln>
            </p:spPr>
            <p:txBody>
              <a:bodyPr rtlCol="0" anchor="ctr"/>
              <a:lstStyle/>
              <a:p>
                <a:endParaRPr lang="en-US"/>
              </a:p>
            </p:txBody>
          </p:sp>
          <p:sp>
            <p:nvSpPr>
              <p:cNvPr id="14" name="Freeform 55">
                <a:extLst>
                  <a:ext uri="{FF2B5EF4-FFF2-40B4-BE49-F238E27FC236}">
                    <a16:creationId xmlns:a16="http://schemas.microsoft.com/office/drawing/2014/main" id="{FE0FAA71-573B-BAC3-0FA2-8D08D4D5BD1F}"/>
                  </a:ext>
                </a:extLst>
              </p:cNvPr>
              <p:cNvSpPr/>
              <p:nvPr/>
            </p:nvSpPr>
            <p:spPr>
              <a:xfrm>
                <a:off x="9682801" y="3503025"/>
                <a:ext cx="163613" cy="602585"/>
              </a:xfrm>
              <a:custGeom>
                <a:avLst/>
                <a:gdLst>
                  <a:gd name="connsiteX0" fmla="*/ 62614 w 163613"/>
                  <a:gd name="connsiteY0" fmla="*/ 601293 h 602585"/>
                  <a:gd name="connsiteX1" fmla="*/ 43215 w 163613"/>
                  <a:gd name="connsiteY1" fmla="*/ 585779 h 602585"/>
                  <a:gd name="connsiteX2" fmla="*/ 536 w 163613"/>
                  <a:gd name="connsiteY2" fmla="*/ 340140 h 602585"/>
                  <a:gd name="connsiteX3" fmla="*/ 1829 w 163613"/>
                  <a:gd name="connsiteY3" fmla="*/ 328504 h 602585"/>
                  <a:gd name="connsiteX4" fmla="*/ 5709 w 163613"/>
                  <a:gd name="connsiteY4" fmla="*/ 319454 h 602585"/>
                  <a:gd name="connsiteX5" fmla="*/ 124691 w 163613"/>
                  <a:gd name="connsiteY5" fmla="*/ 18223 h 602585"/>
                  <a:gd name="connsiteX6" fmla="*/ 145384 w 163613"/>
                  <a:gd name="connsiteY6" fmla="*/ 123 h 602585"/>
                  <a:gd name="connsiteX7" fmla="*/ 163490 w 163613"/>
                  <a:gd name="connsiteY7" fmla="*/ 20809 h 602585"/>
                  <a:gd name="connsiteX8" fmla="*/ 40628 w 163613"/>
                  <a:gd name="connsiteY8" fmla="*/ 336261 h 602585"/>
                  <a:gd name="connsiteX9" fmla="*/ 39334 w 163613"/>
                  <a:gd name="connsiteY9" fmla="*/ 340140 h 602585"/>
                  <a:gd name="connsiteX10" fmla="*/ 80719 w 163613"/>
                  <a:gd name="connsiteY10" fmla="*/ 580608 h 602585"/>
                  <a:gd name="connsiteX11" fmla="*/ 65200 w 163613"/>
                  <a:gd name="connsiteY11" fmla="*/ 602586 h 602585"/>
                  <a:gd name="connsiteX12" fmla="*/ 62614 w 163613"/>
                  <a:gd name="connsiteY12" fmla="*/ 601293 h 60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613" h="602585">
                    <a:moveTo>
                      <a:pt x="62614" y="601293"/>
                    </a:moveTo>
                    <a:cubicBezTo>
                      <a:pt x="53561" y="601293"/>
                      <a:pt x="45801" y="594829"/>
                      <a:pt x="43215" y="585779"/>
                    </a:cubicBezTo>
                    <a:lnTo>
                      <a:pt x="536" y="340140"/>
                    </a:lnTo>
                    <a:cubicBezTo>
                      <a:pt x="-757" y="336261"/>
                      <a:pt x="536" y="332383"/>
                      <a:pt x="1829" y="328504"/>
                    </a:cubicBezTo>
                    <a:lnTo>
                      <a:pt x="5709" y="319454"/>
                    </a:lnTo>
                    <a:cubicBezTo>
                      <a:pt x="57440" y="208270"/>
                      <a:pt x="120812" y="71230"/>
                      <a:pt x="124691" y="18223"/>
                    </a:cubicBezTo>
                    <a:cubicBezTo>
                      <a:pt x="125984" y="7881"/>
                      <a:pt x="135038" y="-1169"/>
                      <a:pt x="145384" y="123"/>
                    </a:cubicBezTo>
                    <a:cubicBezTo>
                      <a:pt x="155730" y="1416"/>
                      <a:pt x="164783" y="10466"/>
                      <a:pt x="163490" y="20809"/>
                    </a:cubicBezTo>
                    <a:cubicBezTo>
                      <a:pt x="159610" y="81572"/>
                      <a:pt x="96239" y="216027"/>
                      <a:pt x="40628" y="336261"/>
                    </a:cubicBezTo>
                    <a:lnTo>
                      <a:pt x="39334" y="340140"/>
                    </a:lnTo>
                    <a:lnTo>
                      <a:pt x="80719" y="580608"/>
                    </a:lnTo>
                    <a:cubicBezTo>
                      <a:pt x="82013" y="590950"/>
                      <a:pt x="75547" y="601293"/>
                      <a:pt x="65200" y="602586"/>
                    </a:cubicBezTo>
                    <a:cubicBezTo>
                      <a:pt x="65200" y="601293"/>
                      <a:pt x="63907" y="601293"/>
                      <a:pt x="62614" y="601293"/>
                    </a:cubicBezTo>
                    <a:close/>
                  </a:path>
                </a:pathLst>
              </a:custGeom>
              <a:grpFill/>
              <a:ln w="12931" cap="flat">
                <a:noFill/>
                <a:prstDash val="solid"/>
                <a:miter/>
              </a:ln>
            </p:spPr>
            <p:txBody>
              <a:bodyPr rtlCol="0" anchor="ctr"/>
              <a:lstStyle/>
              <a:p>
                <a:endParaRPr lang="en-US"/>
              </a:p>
            </p:txBody>
          </p:sp>
          <p:sp>
            <p:nvSpPr>
              <p:cNvPr id="15" name="Freeform 56">
                <a:extLst>
                  <a:ext uri="{FF2B5EF4-FFF2-40B4-BE49-F238E27FC236}">
                    <a16:creationId xmlns:a16="http://schemas.microsoft.com/office/drawing/2014/main" id="{F3CC65E6-C313-F3C4-018E-CA90D2941FEC}"/>
                  </a:ext>
                </a:extLst>
              </p:cNvPr>
              <p:cNvSpPr/>
              <p:nvPr/>
            </p:nvSpPr>
            <p:spPr>
              <a:xfrm>
                <a:off x="9285004" y="2893887"/>
                <a:ext cx="193992" cy="790259"/>
              </a:xfrm>
              <a:custGeom>
                <a:avLst/>
                <a:gdLst>
                  <a:gd name="connsiteX0" fmla="*/ 19399 w 193992"/>
                  <a:gd name="connsiteY0" fmla="*/ 790259 h 790259"/>
                  <a:gd name="connsiteX1" fmla="*/ 0 w 193992"/>
                  <a:gd name="connsiteY1" fmla="*/ 770867 h 790259"/>
                  <a:gd name="connsiteX2" fmla="*/ 11640 w 193992"/>
                  <a:gd name="connsiteY2" fmla="*/ 620898 h 790259"/>
                  <a:gd name="connsiteX3" fmla="*/ 20693 w 193992"/>
                  <a:gd name="connsiteY3" fmla="*/ 543327 h 790259"/>
                  <a:gd name="connsiteX4" fmla="*/ 25866 w 193992"/>
                  <a:gd name="connsiteY4" fmla="*/ 306738 h 790259"/>
                  <a:gd name="connsiteX5" fmla="*/ 24573 w 193992"/>
                  <a:gd name="connsiteY5" fmla="*/ 267953 h 790259"/>
                  <a:gd name="connsiteX6" fmla="*/ 23279 w 193992"/>
                  <a:gd name="connsiteY6" fmla="*/ 183919 h 790259"/>
                  <a:gd name="connsiteX7" fmla="*/ 38799 w 193992"/>
                  <a:gd name="connsiteY7" fmla="*/ 48171 h 790259"/>
                  <a:gd name="connsiteX8" fmla="*/ 115103 w 193992"/>
                  <a:gd name="connsiteY8" fmla="*/ 1628 h 790259"/>
                  <a:gd name="connsiteX9" fmla="*/ 162955 w 193992"/>
                  <a:gd name="connsiteY9" fmla="*/ 71442 h 790259"/>
                  <a:gd name="connsiteX10" fmla="*/ 161661 w 193992"/>
                  <a:gd name="connsiteY10" fmla="*/ 177454 h 790259"/>
                  <a:gd name="connsiteX11" fmla="*/ 170714 w 193992"/>
                  <a:gd name="connsiteY11" fmla="*/ 256317 h 790259"/>
                  <a:gd name="connsiteX12" fmla="*/ 175887 w 193992"/>
                  <a:gd name="connsiteY12" fmla="*/ 296395 h 790259"/>
                  <a:gd name="connsiteX13" fmla="*/ 187526 w 193992"/>
                  <a:gd name="connsiteY13" fmla="*/ 419215 h 790259"/>
                  <a:gd name="connsiteX14" fmla="*/ 193993 w 193992"/>
                  <a:gd name="connsiteY14" fmla="*/ 543327 h 790259"/>
                  <a:gd name="connsiteX15" fmla="*/ 175887 w 193992"/>
                  <a:gd name="connsiteY15" fmla="*/ 564013 h 790259"/>
                  <a:gd name="connsiteX16" fmla="*/ 155194 w 193992"/>
                  <a:gd name="connsiteY16" fmla="*/ 545913 h 790259"/>
                  <a:gd name="connsiteX17" fmla="*/ 148728 w 193992"/>
                  <a:gd name="connsiteY17" fmla="*/ 423093 h 790259"/>
                  <a:gd name="connsiteX18" fmla="*/ 137089 w 193992"/>
                  <a:gd name="connsiteY18" fmla="*/ 301567 h 790259"/>
                  <a:gd name="connsiteX19" fmla="*/ 131915 w 193992"/>
                  <a:gd name="connsiteY19" fmla="*/ 261489 h 790259"/>
                  <a:gd name="connsiteX20" fmla="*/ 122862 w 193992"/>
                  <a:gd name="connsiteY20" fmla="*/ 181333 h 790259"/>
                  <a:gd name="connsiteX21" fmla="*/ 124156 w 193992"/>
                  <a:gd name="connsiteY21" fmla="*/ 66270 h 790259"/>
                  <a:gd name="connsiteX22" fmla="*/ 106050 w 193992"/>
                  <a:gd name="connsiteY22" fmla="*/ 37828 h 790259"/>
                  <a:gd name="connsiteX23" fmla="*/ 87943 w 193992"/>
                  <a:gd name="connsiteY23" fmla="*/ 40413 h 790259"/>
                  <a:gd name="connsiteX24" fmla="*/ 76304 w 193992"/>
                  <a:gd name="connsiteY24" fmla="*/ 55927 h 790259"/>
                  <a:gd name="connsiteX25" fmla="*/ 62078 w 193992"/>
                  <a:gd name="connsiteY25" fmla="*/ 182626 h 790259"/>
                  <a:gd name="connsiteX26" fmla="*/ 63371 w 193992"/>
                  <a:gd name="connsiteY26" fmla="*/ 265367 h 790259"/>
                  <a:gd name="connsiteX27" fmla="*/ 64664 w 193992"/>
                  <a:gd name="connsiteY27" fmla="*/ 304152 h 790259"/>
                  <a:gd name="connsiteX28" fmla="*/ 59492 w 193992"/>
                  <a:gd name="connsiteY28" fmla="*/ 543327 h 790259"/>
                  <a:gd name="connsiteX29" fmla="*/ 50438 w 193992"/>
                  <a:gd name="connsiteY29" fmla="*/ 624776 h 790259"/>
                  <a:gd name="connsiteX30" fmla="*/ 38799 w 193992"/>
                  <a:gd name="connsiteY30" fmla="*/ 768281 h 790259"/>
                  <a:gd name="connsiteX31" fmla="*/ 19399 w 193992"/>
                  <a:gd name="connsiteY31" fmla="*/ 790259 h 79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992" h="790259">
                    <a:moveTo>
                      <a:pt x="19399" y="790259"/>
                    </a:moveTo>
                    <a:cubicBezTo>
                      <a:pt x="9053" y="790259"/>
                      <a:pt x="0" y="781209"/>
                      <a:pt x="0" y="770867"/>
                    </a:cubicBezTo>
                    <a:cubicBezTo>
                      <a:pt x="0" y="697175"/>
                      <a:pt x="6466" y="658390"/>
                      <a:pt x="11640" y="620898"/>
                    </a:cubicBezTo>
                    <a:cubicBezTo>
                      <a:pt x="15520" y="597627"/>
                      <a:pt x="18106" y="574355"/>
                      <a:pt x="20693" y="543327"/>
                    </a:cubicBezTo>
                    <a:cubicBezTo>
                      <a:pt x="25866" y="461879"/>
                      <a:pt x="27159" y="384308"/>
                      <a:pt x="25866" y="306738"/>
                    </a:cubicBezTo>
                    <a:cubicBezTo>
                      <a:pt x="25866" y="293810"/>
                      <a:pt x="25866" y="280881"/>
                      <a:pt x="24573" y="267953"/>
                    </a:cubicBezTo>
                    <a:cubicBezTo>
                      <a:pt x="24573" y="240803"/>
                      <a:pt x="23279" y="212361"/>
                      <a:pt x="23279" y="183919"/>
                    </a:cubicBezTo>
                    <a:cubicBezTo>
                      <a:pt x="23279" y="134791"/>
                      <a:pt x="28452" y="89541"/>
                      <a:pt x="38799" y="48171"/>
                    </a:cubicBezTo>
                    <a:cubicBezTo>
                      <a:pt x="46559" y="14557"/>
                      <a:pt x="81477" y="-6129"/>
                      <a:pt x="115103" y="1628"/>
                    </a:cubicBezTo>
                    <a:cubicBezTo>
                      <a:pt x="146141" y="9385"/>
                      <a:pt x="166834" y="39121"/>
                      <a:pt x="162955" y="71442"/>
                    </a:cubicBezTo>
                    <a:cubicBezTo>
                      <a:pt x="157781" y="105055"/>
                      <a:pt x="157781" y="138669"/>
                      <a:pt x="161661" y="177454"/>
                    </a:cubicBezTo>
                    <a:cubicBezTo>
                      <a:pt x="164247" y="203311"/>
                      <a:pt x="166834" y="229168"/>
                      <a:pt x="170714" y="256317"/>
                    </a:cubicBezTo>
                    <a:cubicBezTo>
                      <a:pt x="172007" y="269246"/>
                      <a:pt x="173301" y="283467"/>
                      <a:pt x="175887" y="296395"/>
                    </a:cubicBezTo>
                    <a:cubicBezTo>
                      <a:pt x="181060" y="337766"/>
                      <a:pt x="184940" y="379137"/>
                      <a:pt x="187526" y="419215"/>
                    </a:cubicBezTo>
                    <a:cubicBezTo>
                      <a:pt x="191406" y="461879"/>
                      <a:pt x="192700" y="505835"/>
                      <a:pt x="193993" y="543327"/>
                    </a:cubicBezTo>
                    <a:cubicBezTo>
                      <a:pt x="193993" y="553670"/>
                      <a:pt x="186234" y="562720"/>
                      <a:pt x="175887" y="564013"/>
                    </a:cubicBezTo>
                    <a:cubicBezTo>
                      <a:pt x="165540" y="564013"/>
                      <a:pt x="156488" y="556256"/>
                      <a:pt x="155194" y="545913"/>
                    </a:cubicBezTo>
                    <a:cubicBezTo>
                      <a:pt x="153901" y="508421"/>
                      <a:pt x="151315" y="465757"/>
                      <a:pt x="148728" y="423093"/>
                    </a:cubicBezTo>
                    <a:cubicBezTo>
                      <a:pt x="146141" y="383015"/>
                      <a:pt x="142261" y="341645"/>
                      <a:pt x="137089" y="301567"/>
                    </a:cubicBezTo>
                    <a:cubicBezTo>
                      <a:pt x="135795" y="288638"/>
                      <a:pt x="134502" y="274417"/>
                      <a:pt x="131915" y="261489"/>
                    </a:cubicBezTo>
                    <a:cubicBezTo>
                      <a:pt x="128036" y="234339"/>
                      <a:pt x="125449" y="207190"/>
                      <a:pt x="122862" y="181333"/>
                    </a:cubicBezTo>
                    <a:cubicBezTo>
                      <a:pt x="118982" y="138669"/>
                      <a:pt x="118982" y="102470"/>
                      <a:pt x="124156" y="66270"/>
                    </a:cubicBezTo>
                    <a:cubicBezTo>
                      <a:pt x="125449" y="53342"/>
                      <a:pt x="117690" y="41706"/>
                      <a:pt x="106050" y="37828"/>
                    </a:cubicBezTo>
                    <a:cubicBezTo>
                      <a:pt x="99583" y="36535"/>
                      <a:pt x="93117" y="37828"/>
                      <a:pt x="87943" y="40413"/>
                    </a:cubicBezTo>
                    <a:cubicBezTo>
                      <a:pt x="82771" y="44292"/>
                      <a:pt x="78891" y="49463"/>
                      <a:pt x="76304" y="55927"/>
                    </a:cubicBezTo>
                    <a:cubicBezTo>
                      <a:pt x="67251" y="93420"/>
                      <a:pt x="62078" y="136084"/>
                      <a:pt x="62078" y="182626"/>
                    </a:cubicBezTo>
                    <a:cubicBezTo>
                      <a:pt x="62078" y="211068"/>
                      <a:pt x="62078" y="238218"/>
                      <a:pt x="63371" y="265367"/>
                    </a:cubicBezTo>
                    <a:cubicBezTo>
                      <a:pt x="63371" y="278296"/>
                      <a:pt x="63371" y="291224"/>
                      <a:pt x="64664" y="304152"/>
                    </a:cubicBezTo>
                    <a:cubicBezTo>
                      <a:pt x="65958" y="383015"/>
                      <a:pt x="64664" y="460586"/>
                      <a:pt x="59492" y="543327"/>
                    </a:cubicBezTo>
                    <a:cubicBezTo>
                      <a:pt x="56905" y="576941"/>
                      <a:pt x="54318" y="601505"/>
                      <a:pt x="50438" y="624776"/>
                    </a:cubicBezTo>
                    <a:cubicBezTo>
                      <a:pt x="45265" y="660976"/>
                      <a:pt x="38799" y="698468"/>
                      <a:pt x="38799" y="768281"/>
                    </a:cubicBezTo>
                    <a:cubicBezTo>
                      <a:pt x="38799" y="782502"/>
                      <a:pt x="29745" y="790259"/>
                      <a:pt x="19399" y="790259"/>
                    </a:cubicBezTo>
                    <a:close/>
                  </a:path>
                </a:pathLst>
              </a:custGeom>
              <a:grpFill/>
              <a:ln w="12931" cap="flat">
                <a:noFill/>
                <a:prstDash val="solid"/>
                <a:miter/>
              </a:ln>
            </p:spPr>
            <p:txBody>
              <a:bodyPr rtlCol="0" anchor="ctr"/>
              <a:lstStyle/>
              <a:p>
                <a:endParaRPr lang="en-US"/>
              </a:p>
            </p:txBody>
          </p:sp>
        </p:grpSp>
      </p:grpSp>
      <p:pic>
        <p:nvPicPr>
          <p:cNvPr id="2" name="Picture Placeholder 17" descr="Close up of heart shaped pages of a book">
            <a:extLst>
              <a:ext uri="{FF2B5EF4-FFF2-40B4-BE49-F238E27FC236}">
                <a16:creationId xmlns:a16="http://schemas.microsoft.com/office/drawing/2014/main" id="{634FE247-90F8-96A8-FE06-09BB17518B09}"/>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1408" r="21408"/>
          <a:stretch/>
        </p:blipFill>
        <p:spPr>
          <a:xfrm>
            <a:off x="0" y="0"/>
            <a:ext cx="5875338" cy="6858000"/>
          </a:xfrm>
        </p:spPr>
      </p:pic>
    </p:spTree>
    <p:extLst>
      <p:ext uri="{BB962C8B-B14F-4D97-AF65-F5344CB8AC3E}">
        <p14:creationId xmlns:p14="http://schemas.microsoft.com/office/powerpoint/2010/main" val="34772005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A63CB0-C491-444F-E07B-38AF767EBB2C}"/>
              </a:ext>
            </a:extLst>
          </p:cNvPr>
          <p:cNvGraphicFramePr>
            <a:graphicFrameLocks noChangeAspect="1"/>
          </p:cNvGraphicFramePr>
          <p:nvPr>
            <p:custDataLst>
              <p:tags r:id="rId1"/>
            </p:custDataLst>
            <p:extLst>
              <p:ext uri="{D42A27DB-BD31-4B8C-83A1-F6EECF244321}">
                <p14:modId xmlns:p14="http://schemas.microsoft.com/office/powerpoint/2010/main" val="2451653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Puzzles in brain">
            <a:extLst>
              <a:ext uri="{FF2B5EF4-FFF2-40B4-BE49-F238E27FC236}">
                <a16:creationId xmlns:a16="http://schemas.microsoft.com/office/drawing/2014/main" id="{3DC03CE9-1B3A-4537-49CC-D4D71E9F9A3E}"/>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43" b="6843"/>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US" b="1" dirty="0"/>
              <a:t>LANGFRISTIGES DENKEN</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6</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3738904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C5F964A-7607-07BD-9841-29F1318CC37C}"/>
              </a:ext>
            </a:extLst>
          </p:cNvPr>
          <p:cNvGraphicFramePr>
            <a:graphicFrameLocks noChangeAspect="1"/>
          </p:cNvGraphicFramePr>
          <p:nvPr>
            <p:custDataLst>
              <p:tags r:id="rId1"/>
            </p:custDataLst>
            <p:extLst>
              <p:ext uri="{D42A27DB-BD31-4B8C-83A1-F6EECF244321}">
                <p14:modId xmlns:p14="http://schemas.microsoft.com/office/powerpoint/2010/main" val="2659629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Path winding through a grassy field">
            <a:extLst>
              <a:ext uri="{FF2B5EF4-FFF2-40B4-BE49-F238E27FC236}">
                <a16:creationId xmlns:a16="http://schemas.microsoft.com/office/drawing/2014/main" id="{3D0AF5DA-A9C3-839B-C9FF-95E2FAE15A35}"/>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5731" r="25731"/>
          <a:stretch>
            <a:fillRect/>
          </a:stretch>
        </p:blipFill>
        <p:spPr>
          <a:xfrm>
            <a:off x="884238" y="0"/>
            <a:ext cx="4994275" cy="6858000"/>
          </a:xfrm>
        </p:spPr>
      </p:pic>
      <p:sp>
        <p:nvSpPr>
          <p:cNvPr id="3" name="Text Placeholder 2">
            <a:extLst>
              <a:ext uri="{FF2B5EF4-FFF2-40B4-BE49-F238E27FC236}">
                <a16:creationId xmlns:a16="http://schemas.microsoft.com/office/drawing/2014/main" id="{6A4EF221-7CCE-A271-B3D5-F080AE9772E8}"/>
              </a:ext>
            </a:extLst>
          </p:cNvPr>
          <p:cNvSpPr>
            <a:spLocks noGrp="1"/>
          </p:cNvSpPr>
          <p:nvPr>
            <p:ph type="body" sz="quarter" idx="30"/>
          </p:nvPr>
        </p:nvSpPr>
        <p:spPr>
          <a:xfrm>
            <a:off x="4890795" y="469291"/>
            <a:ext cx="6776598" cy="842867"/>
          </a:xfrm>
        </p:spPr>
        <p:txBody>
          <a:bodyPr/>
          <a:lstStyle/>
          <a:p>
            <a:r>
              <a:rPr lang="en-IE" dirty="0"/>
              <a:t>Einführung</a:t>
            </a:r>
          </a:p>
        </p:txBody>
      </p:sp>
      <p:sp>
        <p:nvSpPr>
          <p:cNvPr id="4" name="Text Placeholder 3">
            <a:extLst>
              <a:ext uri="{FF2B5EF4-FFF2-40B4-BE49-F238E27FC236}">
                <a16:creationId xmlns:a16="http://schemas.microsoft.com/office/drawing/2014/main" id="{D5B3BAEB-1C43-BF5B-1951-02F9F56C2A39}"/>
              </a:ext>
            </a:extLst>
          </p:cNvPr>
          <p:cNvSpPr>
            <a:spLocks noGrp="1"/>
          </p:cNvSpPr>
          <p:nvPr>
            <p:ph type="body" sz="quarter" idx="48"/>
          </p:nvPr>
        </p:nvSpPr>
        <p:spPr>
          <a:xfrm>
            <a:off x="6236622" y="1484072"/>
            <a:ext cx="5506199" cy="3889855"/>
          </a:xfrm>
        </p:spPr>
        <p:txBody>
          <a:bodyPr/>
          <a:lstStyle/>
          <a:p>
            <a:pPr algn="just">
              <a:spcAft>
                <a:spcPts val="600"/>
              </a:spcAft>
            </a:pPr>
            <a:r>
              <a:rPr lang="en-GB" sz="2000" dirty="0"/>
              <a:t>In diesem Abschnitt wird hervorgehoben, wie wichtig es ist, ein Gleichgewicht zwischen den unmittelbaren Zielen und den Zielen für die Zukunft herzustellen, um Widerstandsfähigkeit, ethisches Verhalten und nachhaltiges Wachstum zu gewährleisten. </a:t>
            </a:r>
          </a:p>
          <a:p>
            <a:pPr algn="just">
              <a:spcAft>
                <a:spcPts val="600"/>
              </a:spcAft>
            </a:pPr>
            <a:r>
              <a:rPr lang="en-GB" sz="2000" dirty="0"/>
              <a:t>Durch langfristiges Denken können Unternehmen besser mit Unwägbarkeiten umgehen, zum gesellschaftlichen Wohlergehen beitragen und dauerhaften Erfolg erzielen. </a:t>
            </a:r>
          </a:p>
          <a:p>
            <a:pPr algn="just">
              <a:spcAft>
                <a:spcPts val="600"/>
              </a:spcAft>
            </a:pPr>
            <a:r>
              <a:rPr lang="en-GB" sz="2000" dirty="0"/>
              <a:t>In diesem Abschnitt entwickeln die Teilnehmer die erforderlichen Fähigkeiten und Kenntnisse, um Strategien zu bewerten und umzusetzen, bei denen Nachhaltigkeit und ethische Entscheidungsfindung im Vordergrund stehen.</a:t>
            </a:r>
            <a:endParaRPr lang="en-IE" sz="2000" dirty="0"/>
          </a:p>
        </p:txBody>
      </p:sp>
    </p:spTree>
    <p:extLst>
      <p:ext uri="{BB962C8B-B14F-4D97-AF65-F5344CB8AC3E}">
        <p14:creationId xmlns:p14="http://schemas.microsoft.com/office/powerpoint/2010/main" val="235255463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p:txBody>
          <a:bodyPr/>
          <a:lstStyle/>
          <a:p>
            <a:r>
              <a:rPr lang="en-US" dirty="0"/>
              <a:t>Langfristiges Denken verstehen</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p:txBody>
          <a:bodyPr/>
          <a:lstStyle/>
          <a:p>
            <a:pPr algn="just">
              <a:spcAft>
                <a:spcPts val="600"/>
              </a:spcAft>
            </a:pPr>
            <a:r>
              <a:rPr lang="en-GB" dirty="0"/>
              <a:t>Langfristiges Denken in der Wirtschaft bedeutet Planung und Entscheidungsfindung unter Berücksichtigung der künftigen Auswirkungen auf die Gesellschaft, die Umwelt und das Unternehmen selbst. Der Schwerpunkt liegt dabei auf Nachhaltigkeit, Belastbarkeit und ethischen Überlegungen. </a:t>
            </a:r>
            <a:r>
              <a:rPr lang="en-GB" b="1" dirty="0"/>
              <a:t>Durch eine langfristige Perspektive können Unternehmen Herausforderungen antizipieren, Chancen ergreifen und zu einer nachhaltigen Entwicklung beitragen</a:t>
            </a:r>
            <a:r>
              <a:rPr lang="en-GB" dirty="0"/>
              <a:t>.</a:t>
            </a:r>
          </a:p>
          <a:p>
            <a:pPr algn="just">
              <a:spcAft>
                <a:spcPts val="600"/>
              </a:spcAft>
            </a:pPr>
            <a:r>
              <a:rPr lang="en-GB" dirty="0"/>
              <a:t>Ein Gleichgewicht zwischen unmittelbaren Bedürfnissen und künftigen Zielen ist entscheidend für nachhaltigen Erfolg. Unternehmen müssen kurzfristigen Gewinnen den Vorrang geben, um wettbewerbsfähig zu bleiben, und gleichzeitig in langfristige Strategien investieren, die Widerstandsfähigkeit und Wachstum gewährleisten. Dieses Gleichgewicht erfordert sorgfältige Planung, strategische Voraussicht und ein Engagement für nachhaltige Praktiken.</a:t>
            </a:r>
            <a:endParaRPr lang="en-US" dirty="0"/>
          </a:p>
        </p:txBody>
      </p:sp>
      <p:grpSp>
        <p:nvGrpSpPr>
          <p:cNvPr id="4" name="Graphic 3">
            <a:extLst>
              <a:ext uri="{FF2B5EF4-FFF2-40B4-BE49-F238E27FC236}">
                <a16:creationId xmlns:a16="http://schemas.microsoft.com/office/drawing/2014/main" id="{9DE0C80F-737C-9539-C2E7-0FBBC025C05D}"/>
              </a:ext>
            </a:extLst>
          </p:cNvPr>
          <p:cNvGrpSpPr/>
          <p:nvPr/>
        </p:nvGrpSpPr>
        <p:grpSpPr>
          <a:xfrm>
            <a:off x="10243730" y="570372"/>
            <a:ext cx="1086136" cy="1105415"/>
            <a:chOff x="8424689" y="1951807"/>
            <a:chExt cx="1086136" cy="1105415"/>
          </a:xfrm>
          <a:solidFill>
            <a:srgbClr val="0F486D"/>
          </a:solidFill>
        </p:grpSpPr>
        <p:grpSp>
          <p:nvGrpSpPr>
            <p:cNvPr id="5" name="Graphic 3">
              <a:extLst>
                <a:ext uri="{FF2B5EF4-FFF2-40B4-BE49-F238E27FC236}">
                  <a16:creationId xmlns:a16="http://schemas.microsoft.com/office/drawing/2014/main" id="{DF4ADB24-FC2A-CC0D-17BB-80ECA079C36A}"/>
                </a:ext>
              </a:extLst>
            </p:cNvPr>
            <p:cNvGrpSpPr/>
            <p:nvPr/>
          </p:nvGrpSpPr>
          <p:grpSpPr>
            <a:xfrm>
              <a:off x="8424689" y="1951807"/>
              <a:ext cx="1086136" cy="1105415"/>
              <a:chOff x="8424689" y="1951807"/>
              <a:chExt cx="1086136" cy="1105415"/>
            </a:xfrm>
            <a:grpFill/>
          </p:grpSpPr>
          <p:sp>
            <p:nvSpPr>
              <p:cNvPr id="12" name="Freeform 1420">
                <a:extLst>
                  <a:ext uri="{FF2B5EF4-FFF2-40B4-BE49-F238E27FC236}">
                    <a16:creationId xmlns:a16="http://schemas.microsoft.com/office/drawing/2014/main" id="{CE058CAB-2D47-776C-94F0-01D1E40CE8A6}"/>
                  </a:ext>
                </a:extLst>
              </p:cNvPr>
              <p:cNvSpPr/>
              <p:nvPr/>
            </p:nvSpPr>
            <p:spPr>
              <a:xfrm>
                <a:off x="8424689" y="2431873"/>
                <a:ext cx="400444" cy="549541"/>
              </a:xfrm>
              <a:custGeom>
                <a:avLst/>
                <a:gdLst>
                  <a:gd name="connsiteX0" fmla="*/ 205708 w 400444"/>
                  <a:gd name="connsiteY0" fmla="*/ 548552 h 549541"/>
                  <a:gd name="connsiteX1" fmla="*/ 219421 w 400444"/>
                  <a:gd name="connsiteY1" fmla="*/ 540324 h 549541"/>
                  <a:gd name="connsiteX2" fmla="*/ 400444 w 400444"/>
                  <a:gd name="connsiteY2" fmla="*/ 197479 h 549541"/>
                  <a:gd name="connsiteX3" fmla="*/ 197479 w 400444"/>
                  <a:gd name="connsiteY3" fmla="*/ 0 h 549541"/>
                  <a:gd name="connsiteX4" fmla="*/ 0 w 400444"/>
                  <a:gd name="connsiteY4" fmla="*/ 202965 h 549541"/>
                  <a:gd name="connsiteX5" fmla="*/ 191994 w 400444"/>
                  <a:gd name="connsiteY5" fmla="*/ 537582 h 549541"/>
                  <a:gd name="connsiteX6" fmla="*/ 205708 w 400444"/>
                  <a:gd name="connsiteY6" fmla="*/ 548552 h 549541"/>
                  <a:gd name="connsiteX7" fmla="*/ 205708 w 400444"/>
                  <a:gd name="connsiteY7" fmla="*/ 548552 h 549541"/>
                  <a:gd name="connsiteX8" fmla="*/ 197479 w 400444"/>
                  <a:gd name="connsiteY8" fmla="*/ 41141 h 549541"/>
                  <a:gd name="connsiteX9" fmla="*/ 364788 w 400444"/>
                  <a:gd name="connsiteY9" fmla="*/ 202965 h 549541"/>
                  <a:gd name="connsiteX10" fmla="*/ 205708 w 400444"/>
                  <a:gd name="connsiteY10" fmla="*/ 504669 h 549541"/>
                  <a:gd name="connsiteX11" fmla="*/ 35656 w 400444"/>
                  <a:gd name="connsiteY11" fmla="*/ 208450 h 549541"/>
                  <a:gd name="connsiteX12" fmla="*/ 197479 w 400444"/>
                  <a:gd name="connsiteY12" fmla="*/ 41141 h 549541"/>
                  <a:gd name="connsiteX13" fmla="*/ 197479 w 400444"/>
                  <a:gd name="connsiteY13" fmla="*/ 41141 h 54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444" h="549541">
                    <a:moveTo>
                      <a:pt x="205708" y="548552"/>
                    </a:moveTo>
                    <a:cubicBezTo>
                      <a:pt x="211193" y="548552"/>
                      <a:pt x="216678" y="545810"/>
                      <a:pt x="219421" y="540324"/>
                    </a:cubicBezTo>
                    <a:cubicBezTo>
                      <a:pt x="227649" y="532096"/>
                      <a:pt x="400444" y="304447"/>
                      <a:pt x="400444" y="197479"/>
                    </a:cubicBezTo>
                    <a:cubicBezTo>
                      <a:pt x="397701" y="87768"/>
                      <a:pt x="307189" y="0"/>
                      <a:pt x="197479" y="0"/>
                    </a:cubicBezTo>
                    <a:cubicBezTo>
                      <a:pt x="87768" y="0"/>
                      <a:pt x="0" y="93254"/>
                      <a:pt x="0" y="202965"/>
                    </a:cubicBezTo>
                    <a:cubicBezTo>
                      <a:pt x="2743" y="309932"/>
                      <a:pt x="183765" y="529353"/>
                      <a:pt x="191994" y="537582"/>
                    </a:cubicBezTo>
                    <a:cubicBezTo>
                      <a:pt x="194737" y="548552"/>
                      <a:pt x="200222" y="551295"/>
                      <a:pt x="205708" y="548552"/>
                    </a:cubicBezTo>
                    <a:lnTo>
                      <a:pt x="205708" y="548552"/>
                    </a:lnTo>
                    <a:close/>
                    <a:moveTo>
                      <a:pt x="197479" y="41141"/>
                    </a:moveTo>
                    <a:cubicBezTo>
                      <a:pt x="287991" y="38399"/>
                      <a:pt x="362045" y="112453"/>
                      <a:pt x="364788" y="202965"/>
                    </a:cubicBezTo>
                    <a:cubicBezTo>
                      <a:pt x="364788" y="274276"/>
                      <a:pt x="260563" y="430614"/>
                      <a:pt x="205708" y="504669"/>
                    </a:cubicBezTo>
                    <a:cubicBezTo>
                      <a:pt x="148109" y="433357"/>
                      <a:pt x="38399" y="279762"/>
                      <a:pt x="35656" y="208450"/>
                    </a:cubicBezTo>
                    <a:cubicBezTo>
                      <a:pt x="35656" y="115196"/>
                      <a:pt x="106968" y="41141"/>
                      <a:pt x="197479" y="41141"/>
                    </a:cubicBezTo>
                    <a:lnTo>
                      <a:pt x="197479" y="41141"/>
                    </a:lnTo>
                    <a:close/>
                  </a:path>
                </a:pathLst>
              </a:custGeom>
              <a:grpFill/>
              <a:ln w="27426" cap="flat">
                <a:noFill/>
                <a:prstDash val="solid"/>
                <a:miter/>
              </a:ln>
            </p:spPr>
            <p:txBody>
              <a:bodyPr rtlCol="0" anchor="ctr"/>
              <a:lstStyle/>
              <a:p>
                <a:endParaRPr lang="en-US"/>
              </a:p>
            </p:txBody>
          </p:sp>
          <p:sp>
            <p:nvSpPr>
              <p:cNvPr id="13" name="Freeform 1421">
                <a:extLst>
                  <a:ext uri="{FF2B5EF4-FFF2-40B4-BE49-F238E27FC236}">
                    <a16:creationId xmlns:a16="http://schemas.microsoft.com/office/drawing/2014/main" id="{36E8B87D-D4C7-1B94-3612-1B4ABEB614C2}"/>
                  </a:ext>
                </a:extLst>
              </p:cNvPr>
              <p:cNvSpPr/>
              <p:nvPr/>
            </p:nvSpPr>
            <p:spPr>
              <a:xfrm>
                <a:off x="8550856" y="2544326"/>
                <a:ext cx="145526" cy="145366"/>
              </a:xfrm>
              <a:custGeom>
                <a:avLst/>
                <a:gdLst>
                  <a:gd name="connsiteX0" fmla="*/ 145366 w 145526"/>
                  <a:gd name="connsiteY0" fmla="*/ 71312 h 145366"/>
                  <a:gd name="connsiteX1" fmla="*/ 71311 w 145526"/>
                  <a:gd name="connsiteY1" fmla="*/ 0 h 145366"/>
                  <a:gd name="connsiteX2" fmla="*/ 0 w 145526"/>
                  <a:gd name="connsiteY2" fmla="*/ 74054 h 145366"/>
                  <a:gd name="connsiteX3" fmla="*/ 74054 w 145526"/>
                  <a:gd name="connsiteY3" fmla="*/ 145366 h 145366"/>
                  <a:gd name="connsiteX4" fmla="*/ 145366 w 145526"/>
                  <a:gd name="connsiteY4" fmla="*/ 71312 h 145366"/>
                  <a:gd name="connsiteX5" fmla="*/ 145366 w 145526"/>
                  <a:gd name="connsiteY5" fmla="*/ 71312 h 145366"/>
                  <a:gd name="connsiteX6" fmla="*/ 38399 w 145526"/>
                  <a:gd name="connsiteY6" fmla="*/ 74054 h 145366"/>
                  <a:gd name="connsiteX7" fmla="*/ 74054 w 145526"/>
                  <a:gd name="connsiteY7" fmla="*/ 38399 h 145366"/>
                  <a:gd name="connsiteX8" fmla="*/ 109711 w 145526"/>
                  <a:gd name="connsiteY8" fmla="*/ 74054 h 145366"/>
                  <a:gd name="connsiteX9" fmla="*/ 74054 w 145526"/>
                  <a:gd name="connsiteY9" fmla="*/ 109710 h 145366"/>
                  <a:gd name="connsiteX10" fmla="*/ 38399 w 145526"/>
                  <a:gd name="connsiteY10" fmla="*/ 74054 h 145366"/>
                  <a:gd name="connsiteX11" fmla="*/ 38399 w 145526"/>
                  <a:gd name="connsiteY11" fmla="*/ 74054 h 14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526" h="145366">
                    <a:moveTo>
                      <a:pt x="145366" y="71312"/>
                    </a:moveTo>
                    <a:cubicBezTo>
                      <a:pt x="145366" y="30170"/>
                      <a:pt x="112453" y="0"/>
                      <a:pt x="71311" y="0"/>
                    </a:cubicBezTo>
                    <a:cubicBezTo>
                      <a:pt x="30170" y="0"/>
                      <a:pt x="0" y="32913"/>
                      <a:pt x="0" y="74054"/>
                    </a:cubicBezTo>
                    <a:cubicBezTo>
                      <a:pt x="0" y="115196"/>
                      <a:pt x="32913" y="145366"/>
                      <a:pt x="74054" y="145366"/>
                    </a:cubicBezTo>
                    <a:cubicBezTo>
                      <a:pt x="115196" y="145366"/>
                      <a:pt x="148109" y="112453"/>
                      <a:pt x="145366" y="71312"/>
                    </a:cubicBezTo>
                    <a:lnTo>
                      <a:pt x="145366" y="71312"/>
                    </a:lnTo>
                    <a:close/>
                    <a:moveTo>
                      <a:pt x="38399" y="74054"/>
                    </a:moveTo>
                    <a:cubicBezTo>
                      <a:pt x="38399" y="54855"/>
                      <a:pt x="54855" y="38399"/>
                      <a:pt x="74054" y="38399"/>
                    </a:cubicBezTo>
                    <a:cubicBezTo>
                      <a:pt x="93254" y="38399"/>
                      <a:pt x="109711" y="54855"/>
                      <a:pt x="109711" y="74054"/>
                    </a:cubicBezTo>
                    <a:cubicBezTo>
                      <a:pt x="109711" y="93254"/>
                      <a:pt x="93254" y="109710"/>
                      <a:pt x="74054" y="109710"/>
                    </a:cubicBezTo>
                    <a:cubicBezTo>
                      <a:pt x="54855" y="109710"/>
                      <a:pt x="38399" y="93254"/>
                      <a:pt x="38399" y="74054"/>
                    </a:cubicBezTo>
                    <a:lnTo>
                      <a:pt x="38399" y="74054"/>
                    </a:lnTo>
                    <a:close/>
                  </a:path>
                </a:pathLst>
              </a:custGeom>
              <a:grpFill/>
              <a:ln w="27426" cap="flat">
                <a:noFill/>
                <a:prstDash val="solid"/>
                <a:miter/>
              </a:ln>
            </p:spPr>
            <p:txBody>
              <a:bodyPr rtlCol="0" anchor="ctr"/>
              <a:lstStyle/>
              <a:p>
                <a:endParaRPr lang="en-US"/>
              </a:p>
            </p:txBody>
          </p:sp>
          <p:sp>
            <p:nvSpPr>
              <p:cNvPr id="14" name="Freeform 1422">
                <a:extLst>
                  <a:ext uri="{FF2B5EF4-FFF2-40B4-BE49-F238E27FC236}">
                    <a16:creationId xmlns:a16="http://schemas.microsoft.com/office/drawing/2014/main" id="{78483B74-684A-69CA-A00B-D1AE2946E9D0}"/>
                  </a:ext>
                </a:extLst>
              </p:cNvPr>
              <p:cNvSpPr/>
              <p:nvPr/>
            </p:nvSpPr>
            <p:spPr>
              <a:xfrm>
                <a:off x="9217266" y="1951807"/>
                <a:ext cx="290816" cy="381326"/>
              </a:xfrm>
              <a:custGeom>
                <a:avLst/>
                <a:gdLst>
                  <a:gd name="connsiteX0" fmla="*/ 148192 w 290816"/>
                  <a:gd name="connsiteY0" fmla="*/ 381327 h 381326"/>
                  <a:gd name="connsiteX1" fmla="*/ 161906 w 290816"/>
                  <a:gd name="connsiteY1" fmla="*/ 375841 h 381326"/>
                  <a:gd name="connsiteX2" fmla="*/ 290816 w 290816"/>
                  <a:gd name="connsiteY2" fmla="*/ 142706 h 381326"/>
                  <a:gd name="connsiteX3" fmla="*/ 142707 w 290816"/>
                  <a:gd name="connsiteY3" fmla="*/ 83 h 381326"/>
                  <a:gd name="connsiteX4" fmla="*/ 83 w 290816"/>
                  <a:gd name="connsiteY4" fmla="*/ 148192 h 381326"/>
                  <a:gd name="connsiteX5" fmla="*/ 134478 w 290816"/>
                  <a:gd name="connsiteY5" fmla="*/ 375841 h 381326"/>
                  <a:gd name="connsiteX6" fmla="*/ 148192 w 290816"/>
                  <a:gd name="connsiteY6" fmla="*/ 381327 h 381326"/>
                  <a:gd name="connsiteX7" fmla="*/ 148192 w 290816"/>
                  <a:gd name="connsiteY7" fmla="*/ 381327 h 381326"/>
                  <a:gd name="connsiteX8" fmla="*/ 142707 w 290816"/>
                  <a:gd name="connsiteY8" fmla="*/ 35739 h 381326"/>
                  <a:gd name="connsiteX9" fmla="*/ 252418 w 290816"/>
                  <a:gd name="connsiteY9" fmla="*/ 142706 h 381326"/>
                  <a:gd name="connsiteX10" fmla="*/ 145449 w 290816"/>
                  <a:gd name="connsiteY10" fmla="*/ 334700 h 381326"/>
                  <a:gd name="connsiteX11" fmla="*/ 32996 w 290816"/>
                  <a:gd name="connsiteY11" fmla="*/ 145449 h 381326"/>
                  <a:gd name="connsiteX12" fmla="*/ 142707 w 290816"/>
                  <a:gd name="connsiteY12" fmla="*/ 35739 h 381326"/>
                  <a:gd name="connsiteX13" fmla="*/ 142707 w 290816"/>
                  <a:gd name="connsiteY13" fmla="*/ 35739 h 38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816" h="381326">
                    <a:moveTo>
                      <a:pt x="148192" y="381327"/>
                    </a:moveTo>
                    <a:cubicBezTo>
                      <a:pt x="153678" y="381327"/>
                      <a:pt x="159163" y="378584"/>
                      <a:pt x="161906" y="375841"/>
                    </a:cubicBezTo>
                    <a:cubicBezTo>
                      <a:pt x="175620" y="359385"/>
                      <a:pt x="290816" y="219504"/>
                      <a:pt x="290816" y="142706"/>
                    </a:cubicBezTo>
                    <a:cubicBezTo>
                      <a:pt x="290816" y="63166"/>
                      <a:pt x="222247" y="-2660"/>
                      <a:pt x="142707" y="83"/>
                    </a:cubicBezTo>
                    <a:cubicBezTo>
                      <a:pt x="63166" y="2826"/>
                      <a:pt x="-2660" y="68652"/>
                      <a:pt x="83" y="148192"/>
                    </a:cubicBezTo>
                    <a:cubicBezTo>
                      <a:pt x="83" y="222247"/>
                      <a:pt x="120764" y="362127"/>
                      <a:pt x="134478" y="375841"/>
                    </a:cubicBezTo>
                    <a:cubicBezTo>
                      <a:pt x="137221" y="378584"/>
                      <a:pt x="142707" y="381327"/>
                      <a:pt x="148192" y="381327"/>
                    </a:cubicBezTo>
                    <a:lnTo>
                      <a:pt x="148192" y="381327"/>
                    </a:lnTo>
                    <a:close/>
                    <a:moveTo>
                      <a:pt x="142707" y="35739"/>
                    </a:moveTo>
                    <a:cubicBezTo>
                      <a:pt x="203047" y="35739"/>
                      <a:pt x="252418" y="82366"/>
                      <a:pt x="252418" y="142706"/>
                    </a:cubicBezTo>
                    <a:cubicBezTo>
                      <a:pt x="252418" y="189334"/>
                      <a:pt x="186591" y="285330"/>
                      <a:pt x="145449" y="334700"/>
                    </a:cubicBezTo>
                    <a:cubicBezTo>
                      <a:pt x="104308" y="285330"/>
                      <a:pt x="32996" y="192076"/>
                      <a:pt x="32996" y="145449"/>
                    </a:cubicBezTo>
                    <a:cubicBezTo>
                      <a:pt x="35738" y="85109"/>
                      <a:pt x="82366" y="35739"/>
                      <a:pt x="142707" y="35739"/>
                    </a:cubicBezTo>
                    <a:lnTo>
                      <a:pt x="142707" y="35739"/>
                    </a:lnTo>
                    <a:close/>
                  </a:path>
                </a:pathLst>
              </a:custGeom>
              <a:grpFill/>
              <a:ln w="27426" cap="flat">
                <a:noFill/>
                <a:prstDash val="solid"/>
                <a:miter/>
              </a:ln>
            </p:spPr>
            <p:txBody>
              <a:bodyPr rtlCol="0" anchor="ctr"/>
              <a:lstStyle/>
              <a:p>
                <a:endParaRPr lang="en-US"/>
              </a:p>
            </p:txBody>
          </p:sp>
          <p:sp>
            <p:nvSpPr>
              <p:cNvPr id="15" name="Freeform 1423">
                <a:extLst>
                  <a:ext uri="{FF2B5EF4-FFF2-40B4-BE49-F238E27FC236}">
                    <a16:creationId xmlns:a16="http://schemas.microsoft.com/office/drawing/2014/main" id="{AA26AD9F-47EF-9561-D27F-09C522ED1B83}"/>
                  </a:ext>
                </a:extLst>
              </p:cNvPr>
              <p:cNvSpPr/>
              <p:nvPr/>
            </p:nvSpPr>
            <p:spPr>
              <a:xfrm>
                <a:off x="9307859" y="2020459"/>
                <a:ext cx="109710" cy="109710"/>
              </a:xfrm>
              <a:custGeom>
                <a:avLst/>
                <a:gdLst>
                  <a:gd name="connsiteX0" fmla="*/ 109711 w 109710"/>
                  <a:gd name="connsiteY0" fmla="*/ 54855 h 109710"/>
                  <a:gd name="connsiteX1" fmla="*/ 54855 w 109710"/>
                  <a:gd name="connsiteY1" fmla="*/ 0 h 109710"/>
                  <a:gd name="connsiteX2" fmla="*/ 0 w 109710"/>
                  <a:gd name="connsiteY2" fmla="*/ 54855 h 109710"/>
                  <a:gd name="connsiteX3" fmla="*/ 54855 w 109710"/>
                  <a:gd name="connsiteY3" fmla="*/ 109710 h 109710"/>
                  <a:gd name="connsiteX4" fmla="*/ 109711 w 109710"/>
                  <a:gd name="connsiteY4" fmla="*/ 54855 h 109710"/>
                  <a:gd name="connsiteX5" fmla="*/ 109711 w 109710"/>
                  <a:gd name="connsiteY5" fmla="*/ 54855 h 109710"/>
                  <a:gd name="connsiteX6" fmla="*/ 35656 w 109710"/>
                  <a:gd name="connsiteY6" fmla="*/ 57598 h 109710"/>
                  <a:gd name="connsiteX7" fmla="*/ 54855 w 109710"/>
                  <a:gd name="connsiteY7" fmla="*/ 38399 h 109710"/>
                  <a:gd name="connsiteX8" fmla="*/ 74055 w 109710"/>
                  <a:gd name="connsiteY8" fmla="*/ 57598 h 109710"/>
                  <a:gd name="connsiteX9" fmla="*/ 54855 w 109710"/>
                  <a:gd name="connsiteY9" fmla="*/ 76797 h 109710"/>
                  <a:gd name="connsiteX10" fmla="*/ 35656 w 109710"/>
                  <a:gd name="connsiteY10" fmla="*/ 57598 h 109710"/>
                  <a:gd name="connsiteX11" fmla="*/ 35656 w 109710"/>
                  <a:gd name="connsiteY11" fmla="*/ 57598 h 1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710" h="109710">
                    <a:moveTo>
                      <a:pt x="109711" y="54855"/>
                    </a:moveTo>
                    <a:cubicBezTo>
                      <a:pt x="109711" y="24685"/>
                      <a:pt x="85026" y="0"/>
                      <a:pt x="54855" y="0"/>
                    </a:cubicBezTo>
                    <a:cubicBezTo>
                      <a:pt x="24686" y="0"/>
                      <a:pt x="0" y="24685"/>
                      <a:pt x="0" y="54855"/>
                    </a:cubicBezTo>
                    <a:cubicBezTo>
                      <a:pt x="0" y="85026"/>
                      <a:pt x="24686" y="109710"/>
                      <a:pt x="54855" y="109710"/>
                    </a:cubicBezTo>
                    <a:cubicBezTo>
                      <a:pt x="85026" y="109710"/>
                      <a:pt x="109711" y="85026"/>
                      <a:pt x="109711" y="54855"/>
                    </a:cubicBezTo>
                    <a:lnTo>
                      <a:pt x="109711" y="54855"/>
                    </a:lnTo>
                    <a:close/>
                    <a:moveTo>
                      <a:pt x="35656" y="57598"/>
                    </a:moveTo>
                    <a:cubicBezTo>
                      <a:pt x="35656" y="46627"/>
                      <a:pt x="43884" y="38399"/>
                      <a:pt x="54855" y="38399"/>
                    </a:cubicBezTo>
                    <a:cubicBezTo>
                      <a:pt x="65827" y="38399"/>
                      <a:pt x="74055" y="46627"/>
                      <a:pt x="74055" y="57598"/>
                    </a:cubicBezTo>
                    <a:cubicBezTo>
                      <a:pt x="74055" y="68569"/>
                      <a:pt x="65827" y="76797"/>
                      <a:pt x="54855" y="76797"/>
                    </a:cubicBezTo>
                    <a:cubicBezTo>
                      <a:pt x="43884" y="74054"/>
                      <a:pt x="35656" y="68569"/>
                      <a:pt x="35656" y="57598"/>
                    </a:cubicBezTo>
                    <a:lnTo>
                      <a:pt x="35656" y="57598"/>
                    </a:lnTo>
                    <a:close/>
                  </a:path>
                </a:pathLst>
              </a:custGeom>
              <a:grpFill/>
              <a:ln w="27426" cap="flat">
                <a:noFill/>
                <a:prstDash val="solid"/>
                <a:miter/>
              </a:ln>
            </p:spPr>
            <p:txBody>
              <a:bodyPr rtlCol="0" anchor="ctr"/>
              <a:lstStyle/>
              <a:p>
                <a:endParaRPr lang="en-US"/>
              </a:p>
            </p:txBody>
          </p:sp>
          <p:sp>
            <p:nvSpPr>
              <p:cNvPr id="16" name="Freeform 1424">
                <a:extLst>
                  <a:ext uri="{FF2B5EF4-FFF2-40B4-BE49-F238E27FC236}">
                    <a16:creationId xmlns:a16="http://schemas.microsoft.com/office/drawing/2014/main" id="{101DCA3F-DDCF-31A2-EC5D-BF346AF6A010}"/>
                  </a:ext>
                </a:extLst>
              </p:cNvPr>
              <p:cNvSpPr/>
              <p:nvPr/>
            </p:nvSpPr>
            <p:spPr>
              <a:xfrm>
                <a:off x="9329802" y="2366047"/>
                <a:ext cx="57598" cy="38398"/>
              </a:xfrm>
              <a:custGeom>
                <a:avLst/>
                <a:gdLst>
                  <a:gd name="connsiteX0" fmla="*/ 19199 w 57598"/>
                  <a:gd name="connsiteY0" fmla="*/ 38399 h 38398"/>
                  <a:gd name="connsiteX1" fmla="*/ 38399 w 57598"/>
                  <a:gd name="connsiteY1" fmla="*/ 38399 h 38398"/>
                  <a:gd name="connsiteX2" fmla="*/ 57598 w 57598"/>
                  <a:gd name="connsiteY2" fmla="*/ 19199 h 38398"/>
                  <a:gd name="connsiteX3" fmla="*/ 38399 w 57598"/>
                  <a:gd name="connsiteY3" fmla="*/ 0 h 38398"/>
                  <a:gd name="connsiteX4" fmla="*/ 19199 w 57598"/>
                  <a:gd name="connsiteY4" fmla="*/ 0 h 38398"/>
                  <a:gd name="connsiteX5" fmla="*/ 0 w 57598"/>
                  <a:gd name="connsiteY5" fmla="*/ 19199 h 38398"/>
                  <a:gd name="connsiteX6" fmla="*/ 19199 w 57598"/>
                  <a:gd name="connsiteY6" fmla="*/ 38399 h 38398"/>
                  <a:gd name="connsiteX7" fmla="*/ 19199 w 57598"/>
                  <a:gd name="connsiteY7" fmla="*/ 38399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38398">
                    <a:moveTo>
                      <a:pt x="19199" y="38399"/>
                    </a:moveTo>
                    <a:lnTo>
                      <a:pt x="38399" y="38399"/>
                    </a:lnTo>
                    <a:cubicBezTo>
                      <a:pt x="49369" y="38399"/>
                      <a:pt x="57598" y="30170"/>
                      <a:pt x="57598" y="19199"/>
                    </a:cubicBezTo>
                    <a:cubicBezTo>
                      <a:pt x="57598" y="8228"/>
                      <a:pt x="49369" y="0"/>
                      <a:pt x="38399" y="0"/>
                    </a:cubicBezTo>
                    <a:lnTo>
                      <a:pt x="19199" y="0"/>
                    </a:lnTo>
                    <a:cubicBezTo>
                      <a:pt x="8228" y="0"/>
                      <a:pt x="0" y="8228"/>
                      <a:pt x="0" y="19199"/>
                    </a:cubicBezTo>
                    <a:cubicBezTo>
                      <a:pt x="0" y="30170"/>
                      <a:pt x="8228" y="38399"/>
                      <a:pt x="19199" y="38399"/>
                    </a:cubicBezTo>
                    <a:lnTo>
                      <a:pt x="19199" y="38399"/>
                    </a:lnTo>
                    <a:close/>
                  </a:path>
                </a:pathLst>
              </a:custGeom>
              <a:grpFill/>
              <a:ln w="27426" cap="flat">
                <a:noFill/>
                <a:prstDash val="solid"/>
                <a:miter/>
              </a:ln>
            </p:spPr>
            <p:txBody>
              <a:bodyPr rtlCol="0" anchor="ctr"/>
              <a:lstStyle/>
              <a:p>
                <a:endParaRPr lang="en-US"/>
              </a:p>
            </p:txBody>
          </p:sp>
          <p:sp>
            <p:nvSpPr>
              <p:cNvPr id="17" name="Freeform 1425">
                <a:extLst>
                  <a:ext uri="{FF2B5EF4-FFF2-40B4-BE49-F238E27FC236}">
                    <a16:creationId xmlns:a16="http://schemas.microsoft.com/office/drawing/2014/main" id="{3E864DA7-0FBA-6222-17BA-0B8FA4138BCF}"/>
                  </a:ext>
                </a:extLst>
              </p:cNvPr>
              <p:cNvSpPr/>
              <p:nvPr/>
            </p:nvSpPr>
            <p:spPr>
              <a:xfrm>
                <a:off x="9091181" y="2481243"/>
                <a:ext cx="76797" cy="38398"/>
              </a:xfrm>
              <a:custGeom>
                <a:avLst/>
                <a:gdLst>
                  <a:gd name="connsiteX0" fmla="*/ 21943 w 76797"/>
                  <a:gd name="connsiteY0" fmla="*/ 38399 h 38398"/>
                  <a:gd name="connsiteX1" fmla="*/ 57598 w 76797"/>
                  <a:gd name="connsiteY1" fmla="*/ 38399 h 38398"/>
                  <a:gd name="connsiteX2" fmla="*/ 76798 w 76797"/>
                  <a:gd name="connsiteY2" fmla="*/ 19199 h 38398"/>
                  <a:gd name="connsiteX3" fmla="*/ 57598 w 76797"/>
                  <a:gd name="connsiteY3" fmla="*/ 0 h 38398"/>
                  <a:gd name="connsiteX4" fmla="*/ 19200 w 76797"/>
                  <a:gd name="connsiteY4" fmla="*/ 0 h 38398"/>
                  <a:gd name="connsiteX5" fmla="*/ 5486 w 76797"/>
                  <a:gd name="connsiteY5" fmla="*/ 5485 h 38398"/>
                  <a:gd name="connsiteX6" fmla="*/ 0 w 76797"/>
                  <a:gd name="connsiteY6" fmla="*/ 19199 h 38398"/>
                  <a:gd name="connsiteX7" fmla="*/ 21943 w 76797"/>
                  <a:gd name="connsiteY7" fmla="*/ 38399 h 38398"/>
                  <a:gd name="connsiteX8" fmla="*/ 21943 w 76797"/>
                  <a:gd name="connsiteY8" fmla="*/ 38399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97" h="38398">
                    <a:moveTo>
                      <a:pt x="21943" y="38399"/>
                    </a:moveTo>
                    <a:lnTo>
                      <a:pt x="57598" y="38399"/>
                    </a:lnTo>
                    <a:cubicBezTo>
                      <a:pt x="68569" y="38399"/>
                      <a:pt x="76798" y="30171"/>
                      <a:pt x="76798" y="19199"/>
                    </a:cubicBezTo>
                    <a:cubicBezTo>
                      <a:pt x="76798" y="8228"/>
                      <a:pt x="68569" y="0"/>
                      <a:pt x="57598" y="0"/>
                    </a:cubicBezTo>
                    <a:lnTo>
                      <a:pt x="19200" y="0"/>
                    </a:lnTo>
                    <a:cubicBezTo>
                      <a:pt x="13714" y="0"/>
                      <a:pt x="10971" y="2743"/>
                      <a:pt x="5486" y="5485"/>
                    </a:cubicBezTo>
                    <a:cubicBezTo>
                      <a:pt x="2743" y="8228"/>
                      <a:pt x="0" y="13714"/>
                      <a:pt x="0" y="19199"/>
                    </a:cubicBezTo>
                    <a:cubicBezTo>
                      <a:pt x="5486" y="30171"/>
                      <a:pt x="13714" y="38399"/>
                      <a:pt x="21943" y="38399"/>
                    </a:cubicBezTo>
                    <a:lnTo>
                      <a:pt x="21943" y="38399"/>
                    </a:lnTo>
                    <a:close/>
                  </a:path>
                </a:pathLst>
              </a:custGeom>
              <a:grpFill/>
              <a:ln w="27426" cap="flat">
                <a:noFill/>
                <a:prstDash val="solid"/>
                <a:miter/>
              </a:ln>
            </p:spPr>
            <p:txBody>
              <a:bodyPr rtlCol="0" anchor="ctr"/>
              <a:lstStyle/>
              <a:p>
                <a:endParaRPr lang="en-US"/>
              </a:p>
            </p:txBody>
          </p:sp>
          <p:sp>
            <p:nvSpPr>
              <p:cNvPr id="18" name="Freeform 1426">
                <a:extLst>
                  <a:ext uri="{FF2B5EF4-FFF2-40B4-BE49-F238E27FC236}">
                    <a16:creationId xmlns:a16="http://schemas.microsoft.com/office/drawing/2014/main" id="{EAA6F36B-8AE0-0993-74DC-83AF367A4277}"/>
                  </a:ext>
                </a:extLst>
              </p:cNvPr>
              <p:cNvSpPr/>
              <p:nvPr/>
            </p:nvSpPr>
            <p:spPr>
              <a:xfrm>
                <a:off x="9318831" y="2478500"/>
                <a:ext cx="76797" cy="38398"/>
              </a:xfrm>
              <a:custGeom>
                <a:avLst/>
                <a:gdLst>
                  <a:gd name="connsiteX0" fmla="*/ 0 w 76797"/>
                  <a:gd name="connsiteY0" fmla="*/ 19200 h 38398"/>
                  <a:gd name="connsiteX1" fmla="*/ 19199 w 76797"/>
                  <a:gd name="connsiteY1" fmla="*/ 38399 h 38398"/>
                  <a:gd name="connsiteX2" fmla="*/ 57597 w 76797"/>
                  <a:gd name="connsiteY2" fmla="*/ 38399 h 38398"/>
                  <a:gd name="connsiteX3" fmla="*/ 76797 w 76797"/>
                  <a:gd name="connsiteY3" fmla="*/ 19200 h 38398"/>
                  <a:gd name="connsiteX4" fmla="*/ 57597 w 76797"/>
                  <a:gd name="connsiteY4" fmla="*/ 0 h 38398"/>
                  <a:gd name="connsiteX5" fmla="*/ 19199 w 76797"/>
                  <a:gd name="connsiteY5" fmla="*/ 0 h 38398"/>
                  <a:gd name="connsiteX6" fmla="*/ 0 w 76797"/>
                  <a:gd name="connsiteY6" fmla="*/ 19200 h 38398"/>
                  <a:gd name="connsiteX7" fmla="*/ 0 w 76797"/>
                  <a:gd name="connsiteY7" fmla="*/ 1920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0" y="19200"/>
                    </a:moveTo>
                    <a:cubicBezTo>
                      <a:pt x="0" y="30171"/>
                      <a:pt x="8228" y="38399"/>
                      <a:pt x="19199" y="38399"/>
                    </a:cubicBezTo>
                    <a:lnTo>
                      <a:pt x="57597" y="38399"/>
                    </a:lnTo>
                    <a:cubicBezTo>
                      <a:pt x="68569" y="38399"/>
                      <a:pt x="76797" y="30171"/>
                      <a:pt x="76797" y="19200"/>
                    </a:cubicBezTo>
                    <a:cubicBezTo>
                      <a:pt x="76797" y="8228"/>
                      <a:pt x="68569" y="0"/>
                      <a:pt x="57597" y="0"/>
                    </a:cubicBezTo>
                    <a:lnTo>
                      <a:pt x="19199" y="0"/>
                    </a:lnTo>
                    <a:cubicBezTo>
                      <a:pt x="8228" y="0"/>
                      <a:pt x="0" y="8228"/>
                      <a:pt x="0" y="19200"/>
                    </a:cubicBezTo>
                    <a:lnTo>
                      <a:pt x="0" y="19200"/>
                    </a:lnTo>
                    <a:close/>
                  </a:path>
                </a:pathLst>
              </a:custGeom>
              <a:grpFill/>
              <a:ln w="27426" cap="flat">
                <a:noFill/>
                <a:prstDash val="solid"/>
                <a:miter/>
              </a:ln>
            </p:spPr>
            <p:txBody>
              <a:bodyPr rtlCol="0" anchor="ctr"/>
              <a:lstStyle/>
              <a:p>
                <a:endParaRPr lang="en-US"/>
              </a:p>
            </p:txBody>
          </p:sp>
          <p:sp>
            <p:nvSpPr>
              <p:cNvPr id="19" name="Freeform 1427">
                <a:extLst>
                  <a:ext uri="{FF2B5EF4-FFF2-40B4-BE49-F238E27FC236}">
                    <a16:creationId xmlns:a16="http://schemas.microsoft.com/office/drawing/2014/main" id="{0D44A163-FDA5-CD7C-E4E8-AAB86F9E2BDA}"/>
                  </a:ext>
                </a:extLst>
              </p:cNvPr>
              <p:cNvSpPr/>
              <p:nvPr/>
            </p:nvSpPr>
            <p:spPr>
              <a:xfrm>
                <a:off x="9220091" y="2368789"/>
                <a:ext cx="76797" cy="38398"/>
              </a:xfrm>
              <a:custGeom>
                <a:avLst/>
                <a:gdLst>
                  <a:gd name="connsiteX0" fmla="*/ 19199 w 76797"/>
                  <a:gd name="connsiteY0" fmla="*/ 38399 h 38398"/>
                  <a:gd name="connsiteX1" fmla="*/ 57598 w 76797"/>
                  <a:gd name="connsiteY1" fmla="*/ 38399 h 38398"/>
                  <a:gd name="connsiteX2" fmla="*/ 76797 w 76797"/>
                  <a:gd name="connsiteY2" fmla="*/ 19200 h 38398"/>
                  <a:gd name="connsiteX3" fmla="*/ 57598 w 76797"/>
                  <a:gd name="connsiteY3" fmla="*/ 0 h 38398"/>
                  <a:gd name="connsiteX4" fmla="*/ 19199 w 76797"/>
                  <a:gd name="connsiteY4" fmla="*/ 0 h 38398"/>
                  <a:gd name="connsiteX5" fmla="*/ 0 w 76797"/>
                  <a:gd name="connsiteY5" fmla="*/ 19200 h 38398"/>
                  <a:gd name="connsiteX6" fmla="*/ 19199 w 76797"/>
                  <a:gd name="connsiteY6" fmla="*/ 38399 h 38398"/>
                  <a:gd name="connsiteX7" fmla="*/ 19199 w 76797"/>
                  <a:gd name="connsiteY7" fmla="*/ 38399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19199" y="38399"/>
                    </a:moveTo>
                    <a:lnTo>
                      <a:pt x="57598" y="38399"/>
                    </a:lnTo>
                    <a:cubicBezTo>
                      <a:pt x="68569" y="38399"/>
                      <a:pt x="76797" y="30171"/>
                      <a:pt x="76797" y="19200"/>
                    </a:cubicBezTo>
                    <a:cubicBezTo>
                      <a:pt x="76797" y="8228"/>
                      <a:pt x="68569" y="0"/>
                      <a:pt x="57598" y="0"/>
                    </a:cubicBezTo>
                    <a:lnTo>
                      <a:pt x="19199" y="0"/>
                    </a:lnTo>
                    <a:cubicBezTo>
                      <a:pt x="8228" y="0"/>
                      <a:pt x="0" y="8228"/>
                      <a:pt x="0" y="19200"/>
                    </a:cubicBezTo>
                    <a:cubicBezTo>
                      <a:pt x="0" y="30171"/>
                      <a:pt x="8228" y="38399"/>
                      <a:pt x="19199" y="38399"/>
                    </a:cubicBezTo>
                    <a:lnTo>
                      <a:pt x="19199" y="38399"/>
                    </a:lnTo>
                    <a:close/>
                  </a:path>
                </a:pathLst>
              </a:custGeom>
              <a:grpFill/>
              <a:ln w="27426" cap="flat">
                <a:noFill/>
                <a:prstDash val="solid"/>
                <a:miter/>
              </a:ln>
            </p:spPr>
            <p:txBody>
              <a:bodyPr rtlCol="0" anchor="ctr"/>
              <a:lstStyle/>
              <a:p>
                <a:endParaRPr lang="en-US"/>
              </a:p>
            </p:txBody>
          </p:sp>
          <p:sp>
            <p:nvSpPr>
              <p:cNvPr id="20" name="Freeform 1428">
                <a:extLst>
                  <a:ext uri="{FF2B5EF4-FFF2-40B4-BE49-F238E27FC236}">
                    <a16:creationId xmlns:a16="http://schemas.microsoft.com/office/drawing/2014/main" id="{17EBE8CD-80CC-3924-AE35-77730BD1B1CA}"/>
                  </a:ext>
                </a:extLst>
              </p:cNvPr>
              <p:cNvSpPr/>
              <p:nvPr/>
            </p:nvSpPr>
            <p:spPr>
              <a:xfrm>
                <a:off x="8704451" y="3016081"/>
                <a:ext cx="76797" cy="38398"/>
              </a:xfrm>
              <a:custGeom>
                <a:avLst/>
                <a:gdLst>
                  <a:gd name="connsiteX0" fmla="*/ 57598 w 76797"/>
                  <a:gd name="connsiteY0" fmla="*/ 0 h 38398"/>
                  <a:gd name="connsiteX1" fmla="*/ 19200 w 76797"/>
                  <a:gd name="connsiteY1" fmla="*/ 0 h 38398"/>
                  <a:gd name="connsiteX2" fmla="*/ 0 w 76797"/>
                  <a:gd name="connsiteY2" fmla="*/ 19199 h 38398"/>
                  <a:gd name="connsiteX3" fmla="*/ 19200 w 76797"/>
                  <a:gd name="connsiteY3" fmla="*/ 38399 h 38398"/>
                  <a:gd name="connsiteX4" fmla="*/ 57598 w 76797"/>
                  <a:gd name="connsiteY4" fmla="*/ 38399 h 38398"/>
                  <a:gd name="connsiteX5" fmla="*/ 76798 w 76797"/>
                  <a:gd name="connsiteY5" fmla="*/ 19199 h 38398"/>
                  <a:gd name="connsiteX6" fmla="*/ 57598 w 76797"/>
                  <a:gd name="connsiteY6" fmla="*/ 0 h 38398"/>
                  <a:gd name="connsiteX7" fmla="*/ 57598 w 76797"/>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57598" y="0"/>
                    </a:moveTo>
                    <a:lnTo>
                      <a:pt x="19200" y="0"/>
                    </a:lnTo>
                    <a:cubicBezTo>
                      <a:pt x="8229" y="0"/>
                      <a:pt x="0" y="8228"/>
                      <a:pt x="0" y="19199"/>
                    </a:cubicBezTo>
                    <a:cubicBezTo>
                      <a:pt x="0" y="30171"/>
                      <a:pt x="8229" y="38399"/>
                      <a:pt x="19200" y="38399"/>
                    </a:cubicBezTo>
                    <a:lnTo>
                      <a:pt x="57598" y="38399"/>
                    </a:lnTo>
                    <a:cubicBezTo>
                      <a:pt x="68569" y="38399"/>
                      <a:pt x="76798" y="30171"/>
                      <a:pt x="76798" y="19199"/>
                    </a:cubicBezTo>
                    <a:cubicBezTo>
                      <a:pt x="76798" y="8228"/>
                      <a:pt x="68569" y="0"/>
                      <a:pt x="57598" y="0"/>
                    </a:cubicBezTo>
                    <a:lnTo>
                      <a:pt x="57598" y="0"/>
                    </a:lnTo>
                    <a:close/>
                  </a:path>
                </a:pathLst>
              </a:custGeom>
              <a:grpFill/>
              <a:ln w="27426" cap="flat">
                <a:noFill/>
                <a:prstDash val="solid"/>
                <a:miter/>
              </a:ln>
            </p:spPr>
            <p:txBody>
              <a:bodyPr rtlCol="0" anchor="ctr"/>
              <a:lstStyle/>
              <a:p>
                <a:endParaRPr lang="en-US"/>
              </a:p>
            </p:txBody>
          </p:sp>
          <p:sp>
            <p:nvSpPr>
              <p:cNvPr id="21" name="Freeform 1429">
                <a:extLst>
                  <a:ext uri="{FF2B5EF4-FFF2-40B4-BE49-F238E27FC236}">
                    <a16:creationId xmlns:a16="http://schemas.microsoft.com/office/drawing/2014/main" id="{341FAB84-B042-9B58-52AF-F2A77115039F}"/>
                  </a:ext>
                </a:extLst>
              </p:cNvPr>
              <p:cNvSpPr/>
              <p:nvPr/>
            </p:nvSpPr>
            <p:spPr>
              <a:xfrm>
                <a:off x="9040171" y="2402237"/>
                <a:ext cx="42247" cy="73520"/>
              </a:xfrm>
              <a:custGeom>
                <a:avLst/>
                <a:gdLst>
                  <a:gd name="connsiteX0" fmla="*/ 20839 w 42247"/>
                  <a:gd name="connsiteY0" fmla="*/ 73520 h 73520"/>
                  <a:gd name="connsiteX1" fmla="*/ 23582 w 42247"/>
                  <a:gd name="connsiteY1" fmla="*/ 73520 h 73520"/>
                  <a:gd name="connsiteX2" fmla="*/ 37296 w 42247"/>
                  <a:gd name="connsiteY2" fmla="*/ 51578 h 73520"/>
                  <a:gd name="connsiteX3" fmla="*/ 37296 w 42247"/>
                  <a:gd name="connsiteY3" fmla="*/ 43349 h 73520"/>
                  <a:gd name="connsiteX4" fmla="*/ 40039 w 42247"/>
                  <a:gd name="connsiteY4" fmla="*/ 26893 h 73520"/>
                  <a:gd name="connsiteX5" fmla="*/ 31811 w 42247"/>
                  <a:gd name="connsiteY5" fmla="*/ 2208 h 73520"/>
                  <a:gd name="connsiteX6" fmla="*/ 7126 w 42247"/>
                  <a:gd name="connsiteY6" fmla="*/ 10436 h 73520"/>
                  <a:gd name="connsiteX7" fmla="*/ 1641 w 42247"/>
                  <a:gd name="connsiteY7" fmla="*/ 59806 h 73520"/>
                  <a:gd name="connsiteX8" fmla="*/ 20839 w 42247"/>
                  <a:gd name="connsiteY8" fmla="*/ 73520 h 73520"/>
                  <a:gd name="connsiteX9" fmla="*/ 20839 w 42247"/>
                  <a:gd name="connsiteY9" fmla="*/ 73520 h 7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47" h="73520">
                    <a:moveTo>
                      <a:pt x="20839" y="73520"/>
                    </a:moveTo>
                    <a:cubicBezTo>
                      <a:pt x="20839" y="73520"/>
                      <a:pt x="23582" y="73520"/>
                      <a:pt x="23582" y="73520"/>
                    </a:cubicBezTo>
                    <a:cubicBezTo>
                      <a:pt x="34553" y="70777"/>
                      <a:pt x="40039" y="62549"/>
                      <a:pt x="37296" y="51578"/>
                    </a:cubicBezTo>
                    <a:cubicBezTo>
                      <a:pt x="37296" y="48835"/>
                      <a:pt x="37296" y="46092"/>
                      <a:pt x="37296" y="43349"/>
                    </a:cubicBezTo>
                    <a:cubicBezTo>
                      <a:pt x="37296" y="37864"/>
                      <a:pt x="37296" y="32379"/>
                      <a:pt x="40039" y="26893"/>
                    </a:cubicBezTo>
                    <a:cubicBezTo>
                      <a:pt x="45525" y="18665"/>
                      <a:pt x="40039" y="7693"/>
                      <a:pt x="31811" y="2208"/>
                    </a:cubicBezTo>
                    <a:cubicBezTo>
                      <a:pt x="23582" y="-3277"/>
                      <a:pt x="12611" y="2208"/>
                      <a:pt x="7126" y="10436"/>
                    </a:cubicBezTo>
                    <a:cubicBezTo>
                      <a:pt x="-1102" y="24150"/>
                      <a:pt x="-1102" y="43349"/>
                      <a:pt x="1641" y="59806"/>
                    </a:cubicBezTo>
                    <a:cubicBezTo>
                      <a:pt x="4383" y="68035"/>
                      <a:pt x="12611" y="73520"/>
                      <a:pt x="20839" y="73520"/>
                    </a:cubicBezTo>
                    <a:lnTo>
                      <a:pt x="20839" y="73520"/>
                    </a:lnTo>
                    <a:close/>
                  </a:path>
                </a:pathLst>
              </a:custGeom>
              <a:grpFill/>
              <a:ln w="27426" cap="flat">
                <a:noFill/>
                <a:prstDash val="solid"/>
                <a:miter/>
              </a:ln>
            </p:spPr>
            <p:txBody>
              <a:bodyPr rtlCol="0" anchor="ctr"/>
              <a:lstStyle/>
              <a:p>
                <a:endParaRPr lang="en-US"/>
              </a:p>
            </p:txBody>
          </p:sp>
          <p:sp>
            <p:nvSpPr>
              <p:cNvPr id="22" name="Freeform 1430">
                <a:extLst>
                  <a:ext uri="{FF2B5EF4-FFF2-40B4-BE49-F238E27FC236}">
                    <a16:creationId xmlns:a16="http://schemas.microsoft.com/office/drawing/2014/main" id="{E17AA0E7-A8EE-A4FF-088D-EA6993AE52F5}"/>
                  </a:ext>
                </a:extLst>
              </p:cNvPr>
              <p:cNvSpPr/>
              <p:nvPr/>
            </p:nvSpPr>
            <p:spPr>
              <a:xfrm>
                <a:off x="9206377" y="2478500"/>
                <a:ext cx="76797" cy="38398"/>
              </a:xfrm>
              <a:custGeom>
                <a:avLst/>
                <a:gdLst>
                  <a:gd name="connsiteX0" fmla="*/ 19199 w 76797"/>
                  <a:gd name="connsiteY0" fmla="*/ 38399 h 38398"/>
                  <a:gd name="connsiteX1" fmla="*/ 57598 w 76797"/>
                  <a:gd name="connsiteY1" fmla="*/ 38399 h 38398"/>
                  <a:gd name="connsiteX2" fmla="*/ 76797 w 76797"/>
                  <a:gd name="connsiteY2" fmla="*/ 19200 h 38398"/>
                  <a:gd name="connsiteX3" fmla="*/ 57598 w 76797"/>
                  <a:gd name="connsiteY3" fmla="*/ 0 h 38398"/>
                  <a:gd name="connsiteX4" fmla="*/ 19199 w 76797"/>
                  <a:gd name="connsiteY4" fmla="*/ 0 h 38398"/>
                  <a:gd name="connsiteX5" fmla="*/ 0 w 76797"/>
                  <a:gd name="connsiteY5" fmla="*/ 19200 h 38398"/>
                  <a:gd name="connsiteX6" fmla="*/ 19199 w 76797"/>
                  <a:gd name="connsiteY6" fmla="*/ 38399 h 38398"/>
                  <a:gd name="connsiteX7" fmla="*/ 19199 w 76797"/>
                  <a:gd name="connsiteY7" fmla="*/ 38399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19199" y="38399"/>
                    </a:moveTo>
                    <a:lnTo>
                      <a:pt x="57598" y="38399"/>
                    </a:lnTo>
                    <a:cubicBezTo>
                      <a:pt x="68569" y="38399"/>
                      <a:pt x="76797" y="30171"/>
                      <a:pt x="76797" y="19200"/>
                    </a:cubicBezTo>
                    <a:cubicBezTo>
                      <a:pt x="76797" y="8228"/>
                      <a:pt x="68569" y="0"/>
                      <a:pt x="57598" y="0"/>
                    </a:cubicBezTo>
                    <a:lnTo>
                      <a:pt x="19199" y="0"/>
                    </a:lnTo>
                    <a:cubicBezTo>
                      <a:pt x="8228" y="0"/>
                      <a:pt x="0" y="8228"/>
                      <a:pt x="0" y="19200"/>
                    </a:cubicBezTo>
                    <a:cubicBezTo>
                      <a:pt x="0" y="30171"/>
                      <a:pt x="8228" y="38399"/>
                      <a:pt x="19199" y="38399"/>
                    </a:cubicBezTo>
                    <a:lnTo>
                      <a:pt x="19199" y="38399"/>
                    </a:lnTo>
                    <a:close/>
                  </a:path>
                </a:pathLst>
              </a:custGeom>
              <a:grpFill/>
              <a:ln w="27426" cap="flat">
                <a:noFill/>
                <a:prstDash val="solid"/>
                <a:miter/>
              </a:ln>
            </p:spPr>
            <p:txBody>
              <a:bodyPr rtlCol="0" anchor="ctr"/>
              <a:lstStyle/>
              <a:p>
                <a:endParaRPr lang="en-US"/>
              </a:p>
            </p:txBody>
          </p:sp>
          <p:sp>
            <p:nvSpPr>
              <p:cNvPr id="23" name="Freeform 1431">
                <a:extLst>
                  <a:ext uri="{FF2B5EF4-FFF2-40B4-BE49-F238E27FC236}">
                    <a16:creationId xmlns:a16="http://schemas.microsoft.com/office/drawing/2014/main" id="{2E1D2115-B15A-F5A7-A9D5-687A4EA343A1}"/>
                  </a:ext>
                </a:extLst>
              </p:cNvPr>
              <p:cNvSpPr/>
              <p:nvPr/>
            </p:nvSpPr>
            <p:spPr>
              <a:xfrm>
                <a:off x="9107638" y="2371532"/>
                <a:ext cx="76797" cy="38398"/>
              </a:xfrm>
              <a:custGeom>
                <a:avLst/>
                <a:gdLst>
                  <a:gd name="connsiteX0" fmla="*/ 19200 w 76797"/>
                  <a:gd name="connsiteY0" fmla="*/ 38399 h 38398"/>
                  <a:gd name="connsiteX1" fmla="*/ 57598 w 76797"/>
                  <a:gd name="connsiteY1" fmla="*/ 38399 h 38398"/>
                  <a:gd name="connsiteX2" fmla="*/ 76797 w 76797"/>
                  <a:gd name="connsiteY2" fmla="*/ 19199 h 38398"/>
                  <a:gd name="connsiteX3" fmla="*/ 57598 w 76797"/>
                  <a:gd name="connsiteY3" fmla="*/ 0 h 38398"/>
                  <a:gd name="connsiteX4" fmla="*/ 19200 w 76797"/>
                  <a:gd name="connsiteY4" fmla="*/ 0 h 38398"/>
                  <a:gd name="connsiteX5" fmla="*/ 0 w 76797"/>
                  <a:gd name="connsiteY5" fmla="*/ 19199 h 38398"/>
                  <a:gd name="connsiteX6" fmla="*/ 19200 w 76797"/>
                  <a:gd name="connsiteY6" fmla="*/ 38399 h 38398"/>
                  <a:gd name="connsiteX7" fmla="*/ 19200 w 76797"/>
                  <a:gd name="connsiteY7" fmla="*/ 38399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19200" y="38399"/>
                    </a:moveTo>
                    <a:lnTo>
                      <a:pt x="57598" y="38399"/>
                    </a:lnTo>
                    <a:cubicBezTo>
                      <a:pt x="68569" y="38399"/>
                      <a:pt x="76797" y="30171"/>
                      <a:pt x="76797" y="19199"/>
                    </a:cubicBezTo>
                    <a:cubicBezTo>
                      <a:pt x="76797" y="8228"/>
                      <a:pt x="68569" y="0"/>
                      <a:pt x="57598" y="0"/>
                    </a:cubicBezTo>
                    <a:lnTo>
                      <a:pt x="19200" y="0"/>
                    </a:lnTo>
                    <a:cubicBezTo>
                      <a:pt x="8228" y="0"/>
                      <a:pt x="0" y="8228"/>
                      <a:pt x="0" y="19199"/>
                    </a:cubicBezTo>
                    <a:cubicBezTo>
                      <a:pt x="0" y="30171"/>
                      <a:pt x="8228" y="38399"/>
                      <a:pt x="19200" y="38399"/>
                    </a:cubicBezTo>
                    <a:lnTo>
                      <a:pt x="19200" y="38399"/>
                    </a:lnTo>
                    <a:close/>
                  </a:path>
                </a:pathLst>
              </a:custGeom>
              <a:grpFill/>
              <a:ln w="27426" cap="flat">
                <a:noFill/>
                <a:prstDash val="solid"/>
                <a:miter/>
              </a:ln>
            </p:spPr>
            <p:txBody>
              <a:bodyPr rtlCol="0" anchor="ctr"/>
              <a:lstStyle/>
              <a:p>
                <a:endParaRPr lang="en-US"/>
              </a:p>
            </p:txBody>
          </p:sp>
          <p:sp>
            <p:nvSpPr>
              <p:cNvPr id="24" name="Freeform 1432">
                <a:extLst>
                  <a:ext uri="{FF2B5EF4-FFF2-40B4-BE49-F238E27FC236}">
                    <a16:creationId xmlns:a16="http://schemas.microsoft.com/office/drawing/2014/main" id="{B5FEB9DD-84AF-7F3C-2DAC-7D6E239DDFDB}"/>
                  </a:ext>
                </a:extLst>
              </p:cNvPr>
              <p:cNvSpPr/>
              <p:nvPr/>
            </p:nvSpPr>
            <p:spPr>
              <a:xfrm>
                <a:off x="8940329" y="2659522"/>
                <a:ext cx="51171" cy="68569"/>
              </a:xfrm>
              <a:custGeom>
                <a:avLst/>
                <a:gdLst>
                  <a:gd name="connsiteX0" fmla="*/ 10971 w 51171"/>
                  <a:gd name="connsiteY0" fmla="*/ 68569 h 68569"/>
                  <a:gd name="connsiteX1" fmla="*/ 16457 w 51171"/>
                  <a:gd name="connsiteY1" fmla="*/ 68569 h 68569"/>
                  <a:gd name="connsiteX2" fmla="*/ 32914 w 51171"/>
                  <a:gd name="connsiteY2" fmla="*/ 54855 h 68569"/>
                  <a:gd name="connsiteX3" fmla="*/ 46627 w 51171"/>
                  <a:gd name="connsiteY3" fmla="*/ 30171 h 68569"/>
                  <a:gd name="connsiteX4" fmla="*/ 49370 w 51171"/>
                  <a:gd name="connsiteY4" fmla="*/ 10971 h 68569"/>
                  <a:gd name="connsiteX5" fmla="*/ 35656 w 51171"/>
                  <a:gd name="connsiteY5" fmla="*/ 0 h 68569"/>
                  <a:gd name="connsiteX6" fmla="*/ 19200 w 51171"/>
                  <a:gd name="connsiteY6" fmla="*/ 8228 h 68569"/>
                  <a:gd name="connsiteX7" fmla="*/ 0 w 51171"/>
                  <a:gd name="connsiteY7" fmla="*/ 49370 h 68569"/>
                  <a:gd name="connsiteX8" fmla="*/ 2743 w 51171"/>
                  <a:gd name="connsiteY8" fmla="*/ 63084 h 68569"/>
                  <a:gd name="connsiteX9" fmla="*/ 10971 w 51171"/>
                  <a:gd name="connsiteY9" fmla="*/ 68569 h 68569"/>
                  <a:gd name="connsiteX10" fmla="*/ 10971 w 51171"/>
                  <a:gd name="connsiteY10" fmla="*/ 68569 h 6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71" h="68569">
                    <a:moveTo>
                      <a:pt x="10971" y="68569"/>
                    </a:moveTo>
                    <a:cubicBezTo>
                      <a:pt x="13714" y="68569"/>
                      <a:pt x="13714" y="68569"/>
                      <a:pt x="16457" y="68569"/>
                    </a:cubicBezTo>
                    <a:cubicBezTo>
                      <a:pt x="24685" y="68569"/>
                      <a:pt x="32914" y="63084"/>
                      <a:pt x="32914" y="54855"/>
                    </a:cubicBezTo>
                    <a:cubicBezTo>
                      <a:pt x="35656" y="46627"/>
                      <a:pt x="38399" y="35656"/>
                      <a:pt x="46627" y="30171"/>
                    </a:cubicBezTo>
                    <a:cubicBezTo>
                      <a:pt x="52112" y="24685"/>
                      <a:pt x="52112" y="19199"/>
                      <a:pt x="49370" y="10971"/>
                    </a:cubicBezTo>
                    <a:cubicBezTo>
                      <a:pt x="46627" y="5485"/>
                      <a:pt x="41142" y="0"/>
                      <a:pt x="35656" y="0"/>
                    </a:cubicBezTo>
                    <a:cubicBezTo>
                      <a:pt x="30171" y="0"/>
                      <a:pt x="21943" y="2743"/>
                      <a:pt x="19200" y="8228"/>
                    </a:cubicBezTo>
                    <a:cubicBezTo>
                      <a:pt x="10971" y="19199"/>
                      <a:pt x="2743" y="32913"/>
                      <a:pt x="0" y="49370"/>
                    </a:cubicBezTo>
                    <a:cubicBezTo>
                      <a:pt x="0" y="54855"/>
                      <a:pt x="0" y="60341"/>
                      <a:pt x="2743" y="63084"/>
                    </a:cubicBezTo>
                    <a:cubicBezTo>
                      <a:pt x="2743" y="65826"/>
                      <a:pt x="8229" y="68569"/>
                      <a:pt x="10971" y="68569"/>
                    </a:cubicBezTo>
                    <a:lnTo>
                      <a:pt x="10971" y="68569"/>
                    </a:lnTo>
                    <a:close/>
                  </a:path>
                </a:pathLst>
              </a:custGeom>
              <a:grpFill/>
              <a:ln w="27426" cap="flat">
                <a:noFill/>
                <a:prstDash val="solid"/>
                <a:miter/>
              </a:ln>
            </p:spPr>
            <p:txBody>
              <a:bodyPr rtlCol="0" anchor="ctr"/>
              <a:lstStyle/>
              <a:p>
                <a:endParaRPr lang="en-US"/>
              </a:p>
            </p:txBody>
          </p:sp>
          <p:sp>
            <p:nvSpPr>
              <p:cNvPr id="25" name="Freeform 1433">
                <a:extLst>
                  <a:ext uri="{FF2B5EF4-FFF2-40B4-BE49-F238E27FC236}">
                    <a16:creationId xmlns:a16="http://schemas.microsoft.com/office/drawing/2014/main" id="{C484579B-0AE5-1D9D-AF78-6211C8EB95AC}"/>
                  </a:ext>
                </a:extLst>
              </p:cNvPr>
              <p:cNvSpPr/>
              <p:nvPr/>
            </p:nvSpPr>
            <p:spPr>
              <a:xfrm>
                <a:off x="9263976" y="3005110"/>
                <a:ext cx="74054" cy="38398"/>
              </a:xfrm>
              <a:custGeom>
                <a:avLst/>
                <a:gdLst>
                  <a:gd name="connsiteX0" fmla="*/ 52112 w 74054"/>
                  <a:gd name="connsiteY0" fmla="*/ 0 h 38398"/>
                  <a:gd name="connsiteX1" fmla="*/ 41142 w 74054"/>
                  <a:gd name="connsiteY1" fmla="*/ 0 h 38398"/>
                  <a:gd name="connsiteX2" fmla="*/ 19199 w 74054"/>
                  <a:gd name="connsiteY2" fmla="*/ 0 h 38398"/>
                  <a:gd name="connsiteX3" fmla="*/ 0 w 74054"/>
                  <a:gd name="connsiteY3" fmla="*/ 19199 h 38398"/>
                  <a:gd name="connsiteX4" fmla="*/ 19199 w 74054"/>
                  <a:gd name="connsiteY4" fmla="*/ 38399 h 38398"/>
                  <a:gd name="connsiteX5" fmla="*/ 41142 w 74054"/>
                  <a:gd name="connsiteY5" fmla="*/ 38399 h 38398"/>
                  <a:gd name="connsiteX6" fmla="*/ 57597 w 74054"/>
                  <a:gd name="connsiteY6" fmla="*/ 38399 h 38398"/>
                  <a:gd name="connsiteX7" fmla="*/ 74054 w 74054"/>
                  <a:gd name="connsiteY7" fmla="*/ 16456 h 38398"/>
                  <a:gd name="connsiteX8" fmla="*/ 52112 w 74054"/>
                  <a:gd name="connsiteY8" fmla="*/ 0 h 38398"/>
                  <a:gd name="connsiteX9" fmla="*/ 52112 w 74054"/>
                  <a:gd name="connsiteY9"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54" h="38398">
                    <a:moveTo>
                      <a:pt x="52112" y="0"/>
                    </a:moveTo>
                    <a:cubicBezTo>
                      <a:pt x="49369" y="0"/>
                      <a:pt x="43884" y="0"/>
                      <a:pt x="41142" y="0"/>
                    </a:cubicBezTo>
                    <a:lnTo>
                      <a:pt x="19199" y="0"/>
                    </a:lnTo>
                    <a:cubicBezTo>
                      <a:pt x="8228" y="0"/>
                      <a:pt x="0" y="8228"/>
                      <a:pt x="0" y="19199"/>
                    </a:cubicBezTo>
                    <a:cubicBezTo>
                      <a:pt x="0" y="30170"/>
                      <a:pt x="8228" y="38399"/>
                      <a:pt x="19199" y="38399"/>
                    </a:cubicBezTo>
                    <a:lnTo>
                      <a:pt x="41142" y="38399"/>
                    </a:lnTo>
                    <a:cubicBezTo>
                      <a:pt x="46627" y="38399"/>
                      <a:pt x="52112" y="38399"/>
                      <a:pt x="57597" y="38399"/>
                    </a:cubicBezTo>
                    <a:cubicBezTo>
                      <a:pt x="68569" y="35656"/>
                      <a:pt x="74054" y="27428"/>
                      <a:pt x="74054" y="16456"/>
                    </a:cubicBezTo>
                    <a:cubicBezTo>
                      <a:pt x="71311" y="5485"/>
                      <a:pt x="63083" y="0"/>
                      <a:pt x="52112" y="0"/>
                    </a:cubicBezTo>
                    <a:lnTo>
                      <a:pt x="52112" y="0"/>
                    </a:lnTo>
                    <a:close/>
                  </a:path>
                </a:pathLst>
              </a:custGeom>
              <a:grpFill/>
              <a:ln w="27426" cap="flat">
                <a:noFill/>
                <a:prstDash val="solid"/>
                <a:miter/>
              </a:ln>
            </p:spPr>
            <p:txBody>
              <a:bodyPr rtlCol="0" anchor="ctr"/>
              <a:lstStyle/>
              <a:p>
                <a:endParaRPr lang="en-US"/>
              </a:p>
            </p:txBody>
          </p:sp>
          <p:sp>
            <p:nvSpPr>
              <p:cNvPr id="26" name="Freeform 1434">
                <a:extLst>
                  <a:ext uri="{FF2B5EF4-FFF2-40B4-BE49-F238E27FC236}">
                    <a16:creationId xmlns:a16="http://schemas.microsoft.com/office/drawing/2014/main" id="{546B7989-A658-7D9B-9C49-CE8ACEE47EB5}"/>
                  </a:ext>
                </a:extLst>
              </p:cNvPr>
              <p:cNvSpPr/>
              <p:nvPr/>
            </p:nvSpPr>
            <p:spPr>
              <a:xfrm>
                <a:off x="9274947" y="2788432"/>
                <a:ext cx="74767" cy="41141"/>
              </a:xfrm>
              <a:custGeom>
                <a:avLst/>
                <a:gdLst>
                  <a:gd name="connsiteX0" fmla="*/ 63083 w 74767"/>
                  <a:gd name="connsiteY0" fmla="*/ 5485 h 41141"/>
                  <a:gd name="connsiteX1" fmla="*/ 24685 w 74767"/>
                  <a:gd name="connsiteY1" fmla="*/ 0 h 41141"/>
                  <a:gd name="connsiteX2" fmla="*/ 19199 w 74767"/>
                  <a:gd name="connsiteY2" fmla="*/ 0 h 41141"/>
                  <a:gd name="connsiteX3" fmla="*/ 0 w 74767"/>
                  <a:gd name="connsiteY3" fmla="*/ 19199 h 41141"/>
                  <a:gd name="connsiteX4" fmla="*/ 19199 w 74767"/>
                  <a:gd name="connsiteY4" fmla="*/ 38399 h 41141"/>
                  <a:gd name="connsiteX5" fmla="*/ 24685 w 74767"/>
                  <a:gd name="connsiteY5" fmla="*/ 38399 h 41141"/>
                  <a:gd name="connsiteX6" fmla="*/ 52112 w 74767"/>
                  <a:gd name="connsiteY6" fmla="*/ 41141 h 41141"/>
                  <a:gd name="connsiteX7" fmla="*/ 57598 w 74767"/>
                  <a:gd name="connsiteY7" fmla="*/ 41141 h 41141"/>
                  <a:gd name="connsiteX8" fmla="*/ 74054 w 74767"/>
                  <a:gd name="connsiteY8" fmla="*/ 24685 h 41141"/>
                  <a:gd name="connsiteX9" fmla="*/ 63083 w 74767"/>
                  <a:gd name="connsiteY9" fmla="*/ 5485 h 41141"/>
                  <a:gd name="connsiteX10" fmla="*/ 63083 w 74767"/>
                  <a:gd name="connsiteY10" fmla="*/ 5485 h 4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767" h="41141">
                    <a:moveTo>
                      <a:pt x="63083" y="5485"/>
                    </a:moveTo>
                    <a:cubicBezTo>
                      <a:pt x="52112" y="2743"/>
                      <a:pt x="38399" y="0"/>
                      <a:pt x="24685" y="0"/>
                    </a:cubicBezTo>
                    <a:lnTo>
                      <a:pt x="19199" y="0"/>
                    </a:lnTo>
                    <a:cubicBezTo>
                      <a:pt x="8228" y="0"/>
                      <a:pt x="0" y="8228"/>
                      <a:pt x="0" y="19199"/>
                    </a:cubicBezTo>
                    <a:cubicBezTo>
                      <a:pt x="0" y="30171"/>
                      <a:pt x="8228" y="38399"/>
                      <a:pt x="19199" y="38399"/>
                    </a:cubicBezTo>
                    <a:lnTo>
                      <a:pt x="24685" y="38399"/>
                    </a:lnTo>
                    <a:cubicBezTo>
                      <a:pt x="32913" y="38399"/>
                      <a:pt x="43884" y="38399"/>
                      <a:pt x="52112" y="41141"/>
                    </a:cubicBezTo>
                    <a:cubicBezTo>
                      <a:pt x="54855" y="41141"/>
                      <a:pt x="54855" y="41141"/>
                      <a:pt x="57598" y="41141"/>
                    </a:cubicBezTo>
                    <a:cubicBezTo>
                      <a:pt x="65826" y="41141"/>
                      <a:pt x="74054" y="32913"/>
                      <a:pt x="74054" y="24685"/>
                    </a:cubicBezTo>
                    <a:cubicBezTo>
                      <a:pt x="76797" y="16457"/>
                      <a:pt x="71312" y="8228"/>
                      <a:pt x="63083" y="5485"/>
                    </a:cubicBezTo>
                    <a:lnTo>
                      <a:pt x="63083" y="5485"/>
                    </a:lnTo>
                    <a:close/>
                  </a:path>
                </a:pathLst>
              </a:custGeom>
              <a:grpFill/>
              <a:ln w="27426" cap="flat">
                <a:noFill/>
                <a:prstDash val="solid"/>
                <a:miter/>
              </a:ln>
            </p:spPr>
            <p:txBody>
              <a:bodyPr rtlCol="0" anchor="ctr"/>
              <a:lstStyle/>
              <a:p>
                <a:endParaRPr lang="en-US"/>
              </a:p>
            </p:txBody>
          </p:sp>
          <p:sp>
            <p:nvSpPr>
              <p:cNvPr id="27" name="Freeform 1435">
                <a:extLst>
                  <a:ext uri="{FF2B5EF4-FFF2-40B4-BE49-F238E27FC236}">
                    <a16:creationId xmlns:a16="http://schemas.microsoft.com/office/drawing/2014/main" id="{CB45C8C3-1A41-F34C-2769-2C7B02E7F2F2}"/>
                  </a:ext>
                </a:extLst>
              </p:cNvPr>
              <p:cNvSpPr/>
              <p:nvPr/>
            </p:nvSpPr>
            <p:spPr>
              <a:xfrm>
                <a:off x="9239290" y="2623866"/>
                <a:ext cx="76797" cy="38398"/>
              </a:xfrm>
              <a:custGeom>
                <a:avLst/>
                <a:gdLst>
                  <a:gd name="connsiteX0" fmla="*/ 57598 w 76797"/>
                  <a:gd name="connsiteY0" fmla="*/ 38399 h 38398"/>
                  <a:gd name="connsiteX1" fmla="*/ 76798 w 76797"/>
                  <a:gd name="connsiteY1" fmla="*/ 19199 h 38398"/>
                  <a:gd name="connsiteX2" fmla="*/ 57598 w 76797"/>
                  <a:gd name="connsiteY2" fmla="*/ 0 h 38398"/>
                  <a:gd name="connsiteX3" fmla="*/ 19200 w 76797"/>
                  <a:gd name="connsiteY3" fmla="*/ 0 h 38398"/>
                  <a:gd name="connsiteX4" fmla="*/ 0 w 76797"/>
                  <a:gd name="connsiteY4" fmla="*/ 19199 h 38398"/>
                  <a:gd name="connsiteX5" fmla="*/ 19200 w 76797"/>
                  <a:gd name="connsiteY5" fmla="*/ 38399 h 38398"/>
                  <a:gd name="connsiteX6" fmla="*/ 57598 w 76797"/>
                  <a:gd name="connsiteY6" fmla="*/ 38399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797" h="38398">
                    <a:moveTo>
                      <a:pt x="57598" y="38399"/>
                    </a:moveTo>
                    <a:cubicBezTo>
                      <a:pt x="68569" y="38399"/>
                      <a:pt x="76798" y="30171"/>
                      <a:pt x="76798" y="19199"/>
                    </a:cubicBezTo>
                    <a:cubicBezTo>
                      <a:pt x="76798" y="8228"/>
                      <a:pt x="68569" y="0"/>
                      <a:pt x="57598" y="0"/>
                    </a:cubicBezTo>
                    <a:lnTo>
                      <a:pt x="19200" y="0"/>
                    </a:lnTo>
                    <a:cubicBezTo>
                      <a:pt x="8229" y="0"/>
                      <a:pt x="0" y="8228"/>
                      <a:pt x="0" y="19199"/>
                    </a:cubicBezTo>
                    <a:cubicBezTo>
                      <a:pt x="0" y="30171"/>
                      <a:pt x="8229" y="38399"/>
                      <a:pt x="19200" y="38399"/>
                    </a:cubicBezTo>
                    <a:lnTo>
                      <a:pt x="57598" y="38399"/>
                    </a:lnTo>
                    <a:close/>
                  </a:path>
                </a:pathLst>
              </a:custGeom>
              <a:grpFill/>
              <a:ln w="27426" cap="flat">
                <a:noFill/>
                <a:prstDash val="solid"/>
                <a:miter/>
              </a:ln>
            </p:spPr>
            <p:txBody>
              <a:bodyPr rtlCol="0" anchor="ctr"/>
              <a:lstStyle/>
              <a:p>
                <a:endParaRPr lang="en-US"/>
              </a:p>
            </p:txBody>
          </p:sp>
          <p:sp>
            <p:nvSpPr>
              <p:cNvPr id="28" name="Freeform 1436">
                <a:extLst>
                  <a:ext uri="{FF2B5EF4-FFF2-40B4-BE49-F238E27FC236}">
                    <a16:creationId xmlns:a16="http://schemas.microsoft.com/office/drawing/2014/main" id="{54D2D470-0187-DC2C-1014-3BF799F55677}"/>
                  </a:ext>
                </a:extLst>
              </p:cNvPr>
              <p:cNvSpPr/>
              <p:nvPr/>
            </p:nvSpPr>
            <p:spPr>
              <a:xfrm>
                <a:off x="9365458" y="2940998"/>
                <a:ext cx="55883" cy="67930"/>
              </a:xfrm>
              <a:custGeom>
                <a:avLst/>
                <a:gdLst>
                  <a:gd name="connsiteX0" fmla="*/ 46627 w 55883"/>
                  <a:gd name="connsiteY0" fmla="*/ 1029 h 67930"/>
                  <a:gd name="connsiteX1" fmla="*/ 21943 w 55883"/>
                  <a:gd name="connsiteY1" fmla="*/ 9257 h 67930"/>
                  <a:gd name="connsiteX2" fmla="*/ 5486 w 55883"/>
                  <a:gd name="connsiteY2" fmla="*/ 33942 h 67930"/>
                  <a:gd name="connsiteX3" fmla="*/ 0 w 55883"/>
                  <a:gd name="connsiteY3" fmla="*/ 53141 h 67930"/>
                  <a:gd name="connsiteX4" fmla="*/ 13714 w 55883"/>
                  <a:gd name="connsiteY4" fmla="*/ 66855 h 67930"/>
                  <a:gd name="connsiteX5" fmla="*/ 30171 w 55883"/>
                  <a:gd name="connsiteY5" fmla="*/ 61369 h 67930"/>
                  <a:gd name="connsiteX6" fmla="*/ 54855 w 55883"/>
                  <a:gd name="connsiteY6" fmla="*/ 25713 h 67930"/>
                  <a:gd name="connsiteX7" fmla="*/ 46627 w 55883"/>
                  <a:gd name="connsiteY7" fmla="*/ 1029 h 67930"/>
                  <a:gd name="connsiteX8" fmla="*/ 46627 w 55883"/>
                  <a:gd name="connsiteY8" fmla="*/ 1029 h 6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83" h="67930">
                    <a:moveTo>
                      <a:pt x="46627" y="1029"/>
                    </a:moveTo>
                    <a:cubicBezTo>
                      <a:pt x="38399" y="-1714"/>
                      <a:pt x="27428" y="1029"/>
                      <a:pt x="21943" y="9257"/>
                    </a:cubicBezTo>
                    <a:cubicBezTo>
                      <a:pt x="19200" y="17485"/>
                      <a:pt x="10971" y="28456"/>
                      <a:pt x="5486" y="33942"/>
                    </a:cubicBezTo>
                    <a:cubicBezTo>
                      <a:pt x="0" y="39427"/>
                      <a:pt x="0" y="44913"/>
                      <a:pt x="0" y="53141"/>
                    </a:cubicBezTo>
                    <a:cubicBezTo>
                      <a:pt x="2743" y="58626"/>
                      <a:pt x="8229" y="64112"/>
                      <a:pt x="13714" y="66855"/>
                    </a:cubicBezTo>
                    <a:cubicBezTo>
                      <a:pt x="19200" y="69598"/>
                      <a:pt x="27428" y="66855"/>
                      <a:pt x="30171" y="61369"/>
                    </a:cubicBezTo>
                    <a:cubicBezTo>
                      <a:pt x="41142" y="50398"/>
                      <a:pt x="46627" y="39427"/>
                      <a:pt x="54855" y="25713"/>
                    </a:cubicBezTo>
                    <a:cubicBezTo>
                      <a:pt x="57598" y="14742"/>
                      <a:pt x="54855" y="6514"/>
                      <a:pt x="46627" y="1029"/>
                    </a:cubicBezTo>
                    <a:lnTo>
                      <a:pt x="46627" y="1029"/>
                    </a:lnTo>
                    <a:close/>
                  </a:path>
                </a:pathLst>
              </a:custGeom>
              <a:grpFill/>
              <a:ln w="27426" cap="flat">
                <a:noFill/>
                <a:prstDash val="solid"/>
                <a:miter/>
              </a:ln>
            </p:spPr>
            <p:txBody>
              <a:bodyPr rtlCol="0" anchor="ctr"/>
              <a:lstStyle/>
              <a:p>
                <a:endParaRPr lang="en-US"/>
              </a:p>
            </p:txBody>
          </p:sp>
          <p:sp>
            <p:nvSpPr>
              <p:cNvPr id="29" name="Freeform 1437">
                <a:extLst>
                  <a:ext uri="{FF2B5EF4-FFF2-40B4-BE49-F238E27FC236}">
                    <a16:creationId xmlns:a16="http://schemas.microsoft.com/office/drawing/2014/main" id="{45E0E897-A915-C312-6636-761594F45A40}"/>
                  </a:ext>
                </a:extLst>
              </p:cNvPr>
              <p:cNvSpPr/>
              <p:nvPr/>
            </p:nvSpPr>
            <p:spPr>
              <a:xfrm>
                <a:off x="9458026" y="2569011"/>
                <a:ext cx="52798" cy="69254"/>
              </a:xfrm>
              <a:custGeom>
                <a:avLst/>
                <a:gdLst>
                  <a:gd name="connsiteX0" fmla="*/ 41827 w 52798"/>
                  <a:gd name="connsiteY0" fmla="*/ 0 h 69254"/>
                  <a:gd name="connsiteX1" fmla="*/ 28113 w 52798"/>
                  <a:gd name="connsiteY1" fmla="*/ 2743 h 69254"/>
                  <a:gd name="connsiteX2" fmla="*/ 19885 w 52798"/>
                  <a:gd name="connsiteY2" fmla="*/ 13714 h 69254"/>
                  <a:gd name="connsiteX3" fmla="*/ 6171 w 52798"/>
                  <a:gd name="connsiteY3" fmla="*/ 38399 h 69254"/>
                  <a:gd name="connsiteX4" fmla="*/ 6171 w 52798"/>
                  <a:gd name="connsiteY4" fmla="*/ 63084 h 69254"/>
                  <a:gd name="connsiteX5" fmla="*/ 30856 w 52798"/>
                  <a:gd name="connsiteY5" fmla="*/ 63084 h 69254"/>
                  <a:gd name="connsiteX6" fmla="*/ 52798 w 52798"/>
                  <a:gd name="connsiteY6" fmla="*/ 24685 h 69254"/>
                  <a:gd name="connsiteX7" fmla="*/ 50055 w 52798"/>
                  <a:gd name="connsiteY7" fmla="*/ 10971 h 69254"/>
                  <a:gd name="connsiteX8" fmla="*/ 41827 w 52798"/>
                  <a:gd name="connsiteY8" fmla="*/ 0 h 69254"/>
                  <a:gd name="connsiteX9" fmla="*/ 41827 w 52798"/>
                  <a:gd name="connsiteY9" fmla="*/ 0 h 69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98" h="69254">
                    <a:moveTo>
                      <a:pt x="41827" y="0"/>
                    </a:moveTo>
                    <a:cubicBezTo>
                      <a:pt x="36342" y="0"/>
                      <a:pt x="30856" y="0"/>
                      <a:pt x="28113" y="2743"/>
                    </a:cubicBezTo>
                    <a:cubicBezTo>
                      <a:pt x="22628" y="5485"/>
                      <a:pt x="19885" y="8228"/>
                      <a:pt x="19885" y="13714"/>
                    </a:cubicBezTo>
                    <a:cubicBezTo>
                      <a:pt x="17142" y="21942"/>
                      <a:pt x="11657" y="30171"/>
                      <a:pt x="6171" y="38399"/>
                    </a:cubicBezTo>
                    <a:cubicBezTo>
                      <a:pt x="-2057" y="46627"/>
                      <a:pt x="-2057" y="57598"/>
                      <a:pt x="6171" y="63084"/>
                    </a:cubicBezTo>
                    <a:cubicBezTo>
                      <a:pt x="14399" y="71312"/>
                      <a:pt x="25371" y="71312"/>
                      <a:pt x="30856" y="63084"/>
                    </a:cubicBezTo>
                    <a:cubicBezTo>
                      <a:pt x="41827" y="52113"/>
                      <a:pt x="50055" y="38399"/>
                      <a:pt x="52798" y="24685"/>
                    </a:cubicBezTo>
                    <a:cubicBezTo>
                      <a:pt x="52798" y="19199"/>
                      <a:pt x="52798" y="13714"/>
                      <a:pt x="50055" y="10971"/>
                    </a:cubicBezTo>
                    <a:cubicBezTo>
                      <a:pt x="50055" y="5485"/>
                      <a:pt x="47312" y="2743"/>
                      <a:pt x="41827" y="0"/>
                    </a:cubicBezTo>
                    <a:lnTo>
                      <a:pt x="41827" y="0"/>
                    </a:lnTo>
                    <a:close/>
                  </a:path>
                </a:pathLst>
              </a:custGeom>
              <a:grpFill/>
              <a:ln w="27426" cap="flat">
                <a:noFill/>
                <a:prstDash val="solid"/>
                <a:miter/>
              </a:ln>
            </p:spPr>
            <p:txBody>
              <a:bodyPr rtlCol="0" anchor="ctr"/>
              <a:lstStyle/>
              <a:p>
                <a:endParaRPr lang="en-US"/>
              </a:p>
            </p:txBody>
          </p:sp>
          <p:sp>
            <p:nvSpPr>
              <p:cNvPr id="30" name="Freeform 1438">
                <a:extLst>
                  <a:ext uri="{FF2B5EF4-FFF2-40B4-BE49-F238E27FC236}">
                    <a16:creationId xmlns:a16="http://schemas.microsoft.com/office/drawing/2014/main" id="{6BB126D3-77C7-7A11-7F53-4B826A7BBFEC}"/>
                  </a:ext>
                </a:extLst>
              </p:cNvPr>
              <p:cNvSpPr/>
              <p:nvPr/>
            </p:nvSpPr>
            <p:spPr>
              <a:xfrm>
                <a:off x="9430571" y="2480529"/>
                <a:ext cx="65599" cy="55568"/>
              </a:xfrm>
              <a:custGeom>
                <a:avLst/>
                <a:gdLst>
                  <a:gd name="connsiteX0" fmla="*/ 47341 w 65599"/>
                  <a:gd name="connsiteY0" fmla="*/ 55569 h 55568"/>
                  <a:gd name="connsiteX1" fmla="*/ 63797 w 65599"/>
                  <a:gd name="connsiteY1" fmla="*/ 44598 h 55568"/>
                  <a:gd name="connsiteX2" fmla="*/ 61054 w 65599"/>
                  <a:gd name="connsiteY2" fmla="*/ 25398 h 55568"/>
                  <a:gd name="connsiteX3" fmla="*/ 22656 w 65599"/>
                  <a:gd name="connsiteY3" fmla="*/ 714 h 55568"/>
                  <a:gd name="connsiteX4" fmla="*/ 713 w 65599"/>
                  <a:gd name="connsiteY4" fmla="*/ 11684 h 55568"/>
                  <a:gd name="connsiteX5" fmla="*/ 11685 w 65599"/>
                  <a:gd name="connsiteY5" fmla="*/ 33627 h 55568"/>
                  <a:gd name="connsiteX6" fmla="*/ 33627 w 65599"/>
                  <a:gd name="connsiteY6" fmla="*/ 47340 h 55568"/>
                  <a:gd name="connsiteX7" fmla="*/ 47341 w 65599"/>
                  <a:gd name="connsiteY7" fmla="*/ 55569 h 55568"/>
                  <a:gd name="connsiteX8" fmla="*/ 47341 w 65599"/>
                  <a:gd name="connsiteY8" fmla="*/ 55569 h 55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99" h="55568">
                    <a:moveTo>
                      <a:pt x="47341" y="55569"/>
                    </a:moveTo>
                    <a:cubicBezTo>
                      <a:pt x="55569" y="55569"/>
                      <a:pt x="61054" y="50083"/>
                      <a:pt x="63797" y="44598"/>
                    </a:cubicBezTo>
                    <a:cubicBezTo>
                      <a:pt x="66540" y="39112"/>
                      <a:pt x="66540" y="30884"/>
                      <a:pt x="61054" y="25398"/>
                    </a:cubicBezTo>
                    <a:cubicBezTo>
                      <a:pt x="50084" y="14427"/>
                      <a:pt x="36370" y="6199"/>
                      <a:pt x="22656" y="714"/>
                    </a:cubicBezTo>
                    <a:cubicBezTo>
                      <a:pt x="14427" y="-2029"/>
                      <a:pt x="3456" y="3456"/>
                      <a:pt x="713" y="11684"/>
                    </a:cubicBezTo>
                    <a:cubicBezTo>
                      <a:pt x="-2029" y="19913"/>
                      <a:pt x="3456" y="30884"/>
                      <a:pt x="11685" y="33627"/>
                    </a:cubicBezTo>
                    <a:cubicBezTo>
                      <a:pt x="19913" y="36370"/>
                      <a:pt x="28141" y="41855"/>
                      <a:pt x="33627" y="47340"/>
                    </a:cubicBezTo>
                    <a:cubicBezTo>
                      <a:pt x="39113" y="52826"/>
                      <a:pt x="41855" y="55569"/>
                      <a:pt x="47341" y="55569"/>
                    </a:cubicBezTo>
                    <a:lnTo>
                      <a:pt x="47341" y="55569"/>
                    </a:lnTo>
                    <a:close/>
                  </a:path>
                </a:pathLst>
              </a:custGeom>
              <a:grpFill/>
              <a:ln w="27426" cap="flat">
                <a:noFill/>
                <a:prstDash val="solid"/>
                <a:miter/>
              </a:ln>
            </p:spPr>
            <p:txBody>
              <a:bodyPr rtlCol="0" anchor="ctr"/>
              <a:lstStyle/>
              <a:p>
                <a:endParaRPr lang="en-US"/>
              </a:p>
            </p:txBody>
          </p:sp>
          <p:sp>
            <p:nvSpPr>
              <p:cNvPr id="31" name="Freeform 1439">
                <a:extLst>
                  <a:ext uri="{FF2B5EF4-FFF2-40B4-BE49-F238E27FC236}">
                    <a16:creationId xmlns:a16="http://schemas.microsoft.com/office/drawing/2014/main" id="{07DD5BAA-68DA-7DF2-AD54-751FE9382A6D}"/>
                  </a:ext>
                </a:extLst>
              </p:cNvPr>
              <p:cNvSpPr/>
              <p:nvPr/>
            </p:nvSpPr>
            <p:spPr>
              <a:xfrm>
                <a:off x="9165236" y="2788432"/>
                <a:ext cx="76797" cy="38398"/>
              </a:xfrm>
              <a:custGeom>
                <a:avLst/>
                <a:gdLst>
                  <a:gd name="connsiteX0" fmla="*/ 57598 w 76797"/>
                  <a:gd name="connsiteY0" fmla="*/ 0 h 38398"/>
                  <a:gd name="connsiteX1" fmla="*/ 19199 w 76797"/>
                  <a:gd name="connsiteY1" fmla="*/ 0 h 38398"/>
                  <a:gd name="connsiteX2" fmla="*/ 0 w 76797"/>
                  <a:gd name="connsiteY2" fmla="*/ 19199 h 38398"/>
                  <a:gd name="connsiteX3" fmla="*/ 19199 w 76797"/>
                  <a:gd name="connsiteY3" fmla="*/ 38399 h 38398"/>
                  <a:gd name="connsiteX4" fmla="*/ 57598 w 76797"/>
                  <a:gd name="connsiteY4" fmla="*/ 38399 h 38398"/>
                  <a:gd name="connsiteX5" fmla="*/ 76797 w 76797"/>
                  <a:gd name="connsiteY5" fmla="*/ 19199 h 38398"/>
                  <a:gd name="connsiteX6" fmla="*/ 57598 w 76797"/>
                  <a:gd name="connsiteY6" fmla="*/ 0 h 38398"/>
                  <a:gd name="connsiteX7" fmla="*/ 57598 w 76797"/>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57598" y="0"/>
                    </a:moveTo>
                    <a:lnTo>
                      <a:pt x="19199" y="0"/>
                    </a:lnTo>
                    <a:cubicBezTo>
                      <a:pt x="8228" y="0"/>
                      <a:pt x="0" y="8228"/>
                      <a:pt x="0" y="19199"/>
                    </a:cubicBezTo>
                    <a:cubicBezTo>
                      <a:pt x="0" y="30171"/>
                      <a:pt x="8228" y="38399"/>
                      <a:pt x="19199" y="38399"/>
                    </a:cubicBezTo>
                    <a:lnTo>
                      <a:pt x="57598" y="38399"/>
                    </a:lnTo>
                    <a:cubicBezTo>
                      <a:pt x="68569" y="38399"/>
                      <a:pt x="76797" y="30171"/>
                      <a:pt x="76797" y="19199"/>
                    </a:cubicBezTo>
                    <a:cubicBezTo>
                      <a:pt x="74054" y="8228"/>
                      <a:pt x="65826" y="0"/>
                      <a:pt x="57598" y="0"/>
                    </a:cubicBezTo>
                    <a:lnTo>
                      <a:pt x="57598" y="0"/>
                    </a:lnTo>
                    <a:close/>
                  </a:path>
                </a:pathLst>
              </a:custGeom>
              <a:grpFill/>
              <a:ln w="27426" cap="flat">
                <a:noFill/>
                <a:prstDash val="solid"/>
                <a:miter/>
              </a:ln>
            </p:spPr>
            <p:txBody>
              <a:bodyPr rtlCol="0" anchor="ctr"/>
              <a:lstStyle/>
              <a:p>
                <a:endParaRPr lang="en-US"/>
              </a:p>
            </p:txBody>
          </p:sp>
          <p:sp>
            <p:nvSpPr>
              <p:cNvPr id="32" name="Freeform 1440">
                <a:extLst>
                  <a:ext uri="{FF2B5EF4-FFF2-40B4-BE49-F238E27FC236}">
                    <a16:creationId xmlns:a16="http://schemas.microsoft.com/office/drawing/2014/main" id="{C5BCB553-4F98-2518-87D6-9F5FDA7724D9}"/>
                  </a:ext>
                </a:extLst>
              </p:cNvPr>
              <p:cNvSpPr/>
              <p:nvPr/>
            </p:nvSpPr>
            <p:spPr>
              <a:xfrm>
                <a:off x="9349001" y="2623866"/>
                <a:ext cx="76797" cy="38398"/>
              </a:xfrm>
              <a:custGeom>
                <a:avLst/>
                <a:gdLst>
                  <a:gd name="connsiteX0" fmla="*/ 57598 w 76797"/>
                  <a:gd name="connsiteY0" fmla="*/ 0 h 38398"/>
                  <a:gd name="connsiteX1" fmla="*/ 19200 w 76797"/>
                  <a:gd name="connsiteY1" fmla="*/ 0 h 38398"/>
                  <a:gd name="connsiteX2" fmla="*/ 0 w 76797"/>
                  <a:gd name="connsiteY2" fmla="*/ 19199 h 38398"/>
                  <a:gd name="connsiteX3" fmla="*/ 19200 w 76797"/>
                  <a:gd name="connsiteY3" fmla="*/ 38399 h 38398"/>
                  <a:gd name="connsiteX4" fmla="*/ 57598 w 76797"/>
                  <a:gd name="connsiteY4" fmla="*/ 38399 h 38398"/>
                  <a:gd name="connsiteX5" fmla="*/ 76798 w 76797"/>
                  <a:gd name="connsiteY5" fmla="*/ 19199 h 38398"/>
                  <a:gd name="connsiteX6" fmla="*/ 57598 w 76797"/>
                  <a:gd name="connsiteY6" fmla="*/ 0 h 38398"/>
                  <a:gd name="connsiteX7" fmla="*/ 57598 w 76797"/>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57598" y="0"/>
                    </a:moveTo>
                    <a:lnTo>
                      <a:pt x="19200" y="0"/>
                    </a:lnTo>
                    <a:cubicBezTo>
                      <a:pt x="8229" y="0"/>
                      <a:pt x="0" y="8228"/>
                      <a:pt x="0" y="19199"/>
                    </a:cubicBezTo>
                    <a:cubicBezTo>
                      <a:pt x="0" y="30171"/>
                      <a:pt x="8229" y="38399"/>
                      <a:pt x="19200" y="38399"/>
                    </a:cubicBezTo>
                    <a:lnTo>
                      <a:pt x="57598" y="38399"/>
                    </a:lnTo>
                    <a:cubicBezTo>
                      <a:pt x="68569" y="38399"/>
                      <a:pt x="76798" y="30171"/>
                      <a:pt x="76798" y="19199"/>
                    </a:cubicBezTo>
                    <a:cubicBezTo>
                      <a:pt x="76798" y="5485"/>
                      <a:pt x="68569" y="0"/>
                      <a:pt x="57598" y="0"/>
                    </a:cubicBezTo>
                    <a:lnTo>
                      <a:pt x="57598" y="0"/>
                    </a:lnTo>
                    <a:close/>
                  </a:path>
                </a:pathLst>
              </a:custGeom>
              <a:grpFill/>
              <a:ln w="27426" cap="flat">
                <a:noFill/>
                <a:prstDash val="solid"/>
                <a:miter/>
              </a:ln>
            </p:spPr>
            <p:txBody>
              <a:bodyPr rtlCol="0" anchor="ctr"/>
              <a:lstStyle/>
              <a:p>
                <a:endParaRPr lang="en-US"/>
              </a:p>
            </p:txBody>
          </p:sp>
          <p:sp>
            <p:nvSpPr>
              <p:cNvPr id="33" name="Freeform 1441">
                <a:extLst>
                  <a:ext uri="{FF2B5EF4-FFF2-40B4-BE49-F238E27FC236}">
                    <a16:creationId xmlns:a16="http://schemas.microsoft.com/office/drawing/2014/main" id="{BEAAD30C-65E2-501A-B52D-DECC167789F7}"/>
                  </a:ext>
                </a:extLst>
              </p:cNvPr>
              <p:cNvSpPr/>
              <p:nvPr/>
            </p:nvSpPr>
            <p:spPr>
              <a:xfrm>
                <a:off x="8816904" y="3013338"/>
                <a:ext cx="76797" cy="38398"/>
              </a:xfrm>
              <a:custGeom>
                <a:avLst/>
                <a:gdLst>
                  <a:gd name="connsiteX0" fmla="*/ 57598 w 76797"/>
                  <a:gd name="connsiteY0" fmla="*/ 0 h 38398"/>
                  <a:gd name="connsiteX1" fmla="*/ 19200 w 76797"/>
                  <a:gd name="connsiteY1" fmla="*/ 0 h 38398"/>
                  <a:gd name="connsiteX2" fmla="*/ 0 w 76797"/>
                  <a:gd name="connsiteY2" fmla="*/ 19200 h 38398"/>
                  <a:gd name="connsiteX3" fmla="*/ 19200 w 76797"/>
                  <a:gd name="connsiteY3" fmla="*/ 38399 h 38398"/>
                  <a:gd name="connsiteX4" fmla="*/ 57598 w 76797"/>
                  <a:gd name="connsiteY4" fmla="*/ 38399 h 38398"/>
                  <a:gd name="connsiteX5" fmla="*/ 76798 w 76797"/>
                  <a:gd name="connsiteY5" fmla="*/ 19200 h 38398"/>
                  <a:gd name="connsiteX6" fmla="*/ 57598 w 76797"/>
                  <a:gd name="connsiteY6" fmla="*/ 0 h 38398"/>
                  <a:gd name="connsiteX7" fmla="*/ 57598 w 76797"/>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57598" y="0"/>
                    </a:moveTo>
                    <a:lnTo>
                      <a:pt x="19200" y="0"/>
                    </a:lnTo>
                    <a:cubicBezTo>
                      <a:pt x="8229" y="0"/>
                      <a:pt x="0" y="8228"/>
                      <a:pt x="0" y="19200"/>
                    </a:cubicBezTo>
                    <a:cubicBezTo>
                      <a:pt x="0" y="30171"/>
                      <a:pt x="8229" y="38399"/>
                      <a:pt x="19200" y="38399"/>
                    </a:cubicBezTo>
                    <a:lnTo>
                      <a:pt x="57598" y="38399"/>
                    </a:lnTo>
                    <a:cubicBezTo>
                      <a:pt x="68569" y="38399"/>
                      <a:pt x="76798" y="30171"/>
                      <a:pt x="76798" y="19200"/>
                    </a:cubicBezTo>
                    <a:cubicBezTo>
                      <a:pt x="74055" y="8228"/>
                      <a:pt x="65826" y="0"/>
                      <a:pt x="57598" y="0"/>
                    </a:cubicBezTo>
                    <a:lnTo>
                      <a:pt x="57598" y="0"/>
                    </a:lnTo>
                    <a:close/>
                  </a:path>
                </a:pathLst>
              </a:custGeom>
              <a:grpFill/>
              <a:ln w="27426" cap="flat">
                <a:noFill/>
                <a:prstDash val="solid"/>
                <a:miter/>
              </a:ln>
            </p:spPr>
            <p:txBody>
              <a:bodyPr rtlCol="0" anchor="ctr"/>
              <a:lstStyle/>
              <a:p>
                <a:endParaRPr lang="en-US"/>
              </a:p>
            </p:txBody>
          </p:sp>
          <p:sp>
            <p:nvSpPr>
              <p:cNvPr id="34" name="Freeform 1442">
                <a:extLst>
                  <a:ext uri="{FF2B5EF4-FFF2-40B4-BE49-F238E27FC236}">
                    <a16:creationId xmlns:a16="http://schemas.microsoft.com/office/drawing/2014/main" id="{C63294A2-A4D8-C45A-D0B3-C7096451EB8E}"/>
                  </a:ext>
                </a:extLst>
              </p:cNvPr>
              <p:cNvSpPr/>
              <p:nvPr/>
            </p:nvSpPr>
            <p:spPr>
              <a:xfrm>
                <a:off x="9373575" y="2834948"/>
                <a:ext cx="54966" cy="69756"/>
              </a:xfrm>
              <a:custGeom>
                <a:avLst/>
                <a:gdLst>
                  <a:gd name="connsiteX0" fmla="*/ 33024 w 54966"/>
                  <a:gd name="connsiteY0" fmla="*/ 8339 h 69756"/>
                  <a:gd name="connsiteX1" fmla="*/ 8339 w 54966"/>
                  <a:gd name="connsiteY1" fmla="*/ 2854 h 69756"/>
                  <a:gd name="connsiteX2" fmla="*/ 2853 w 54966"/>
                  <a:gd name="connsiteY2" fmla="*/ 27539 h 69756"/>
                  <a:gd name="connsiteX3" fmla="*/ 16567 w 54966"/>
                  <a:gd name="connsiteY3" fmla="*/ 54966 h 69756"/>
                  <a:gd name="connsiteX4" fmla="*/ 30281 w 54966"/>
                  <a:gd name="connsiteY4" fmla="*/ 68680 h 69756"/>
                  <a:gd name="connsiteX5" fmla="*/ 49481 w 54966"/>
                  <a:gd name="connsiteY5" fmla="*/ 63195 h 69756"/>
                  <a:gd name="connsiteX6" fmla="*/ 54967 w 54966"/>
                  <a:gd name="connsiteY6" fmla="*/ 43995 h 69756"/>
                  <a:gd name="connsiteX7" fmla="*/ 33024 w 54966"/>
                  <a:gd name="connsiteY7" fmla="*/ 8339 h 69756"/>
                  <a:gd name="connsiteX8" fmla="*/ 33024 w 54966"/>
                  <a:gd name="connsiteY8" fmla="*/ 8339 h 6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966" h="69756">
                    <a:moveTo>
                      <a:pt x="33024" y="8339"/>
                    </a:moveTo>
                    <a:cubicBezTo>
                      <a:pt x="27539" y="111"/>
                      <a:pt x="16567" y="-2632"/>
                      <a:pt x="8339" y="2854"/>
                    </a:cubicBezTo>
                    <a:cubicBezTo>
                      <a:pt x="111" y="8339"/>
                      <a:pt x="-2632" y="19311"/>
                      <a:pt x="2853" y="27539"/>
                    </a:cubicBezTo>
                    <a:cubicBezTo>
                      <a:pt x="8339" y="35767"/>
                      <a:pt x="13825" y="43995"/>
                      <a:pt x="16567" y="54966"/>
                    </a:cubicBezTo>
                    <a:cubicBezTo>
                      <a:pt x="19310" y="60452"/>
                      <a:pt x="22053" y="65938"/>
                      <a:pt x="30281" y="68680"/>
                    </a:cubicBezTo>
                    <a:cubicBezTo>
                      <a:pt x="35767" y="71423"/>
                      <a:pt x="43995" y="68680"/>
                      <a:pt x="49481" y="63195"/>
                    </a:cubicBezTo>
                    <a:cubicBezTo>
                      <a:pt x="54967" y="57709"/>
                      <a:pt x="54967" y="52224"/>
                      <a:pt x="54967" y="43995"/>
                    </a:cubicBezTo>
                    <a:cubicBezTo>
                      <a:pt x="49481" y="33024"/>
                      <a:pt x="41253" y="19311"/>
                      <a:pt x="33024" y="8339"/>
                    </a:cubicBezTo>
                    <a:lnTo>
                      <a:pt x="33024" y="8339"/>
                    </a:lnTo>
                    <a:close/>
                  </a:path>
                </a:pathLst>
              </a:custGeom>
              <a:grpFill/>
              <a:ln w="27426" cap="flat">
                <a:noFill/>
                <a:prstDash val="solid"/>
                <a:miter/>
              </a:ln>
            </p:spPr>
            <p:txBody>
              <a:bodyPr rtlCol="0" anchor="ctr"/>
              <a:lstStyle/>
              <a:p>
                <a:endParaRPr lang="en-US"/>
              </a:p>
            </p:txBody>
          </p:sp>
          <p:sp>
            <p:nvSpPr>
              <p:cNvPr id="35" name="Freeform 1443">
                <a:extLst>
                  <a:ext uri="{FF2B5EF4-FFF2-40B4-BE49-F238E27FC236}">
                    <a16:creationId xmlns:a16="http://schemas.microsoft.com/office/drawing/2014/main" id="{7219A94C-8F68-54F2-BE6D-1F394DDAFBD8}"/>
                  </a:ext>
                </a:extLst>
              </p:cNvPr>
              <p:cNvSpPr/>
              <p:nvPr/>
            </p:nvSpPr>
            <p:spPr>
              <a:xfrm>
                <a:off x="8955705" y="2762667"/>
                <a:ext cx="64877" cy="56964"/>
              </a:xfrm>
              <a:custGeom>
                <a:avLst/>
                <a:gdLst>
                  <a:gd name="connsiteX0" fmla="*/ 53193 w 64877"/>
                  <a:gd name="connsiteY0" fmla="*/ 23023 h 56964"/>
                  <a:gd name="connsiteX1" fmla="*/ 31251 w 64877"/>
                  <a:gd name="connsiteY1" fmla="*/ 6566 h 56964"/>
                  <a:gd name="connsiteX2" fmla="*/ 6566 w 64877"/>
                  <a:gd name="connsiteY2" fmla="*/ 3823 h 56964"/>
                  <a:gd name="connsiteX3" fmla="*/ 3823 w 64877"/>
                  <a:gd name="connsiteY3" fmla="*/ 28508 h 56964"/>
                  <a:gd name="connsiteX4" fmla="*/ 39479 w 64877"/>
                  <a:gd name="connsiteY4" fmla="*/ 55936 h 56964"/>
                  <a:gd name="connsiteX5" fmla="*/ 64164 w 64877"/>
                  <a:gd name="connsiteY5" fmla="*/ 47707 h 56964"/>
                  <a:gd name="connsiteX6" fmla="*/ 53193 w 64877"/>
                  <a:gd name="connsiteY6" fmla="*/ 23023 h 56964"/>
                  <a:gd name="connsiteX7" fmla="*/ 53193 w 64877"/>
                  <a:gd name="connsiteY7" fmla="*/ 23023 h 56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877" h="56964">
                    <a:moveTo>
                      <a:pt x="53193" y="23023"/>
                    </a:moveTo>
                    <a:cubicBezTo>
                      <a:pt x="44965" y="17537"/>
                      <a:pt x="36736" y="12051"/>
                      <a:pt x="31251" y="6566"/>
                    </a:cubicBezTo>
                    <a:cubicBezTo>
                      <a:pt x="25765" y="-1662"/>
                      <a:pt x="14794" y="-1662"/>
                      <a:pt x="6566" y="3823"/>
                    </a:cubicBezTo>
                    <a:cubicBezTo>
                      <a:pt x="-1663" y="9309"/>
                      <a:pt x="-1663" y="20280"/>
                      <a:pt x="3823" y="28508"/>
                    </a:cubicBezTo>
                    <a:cubicBezTo>
                      <a:pt x="12051" y="39479"/>
                      <a:pt x="25765" y="50450"/>
                      <a:pt x="39479" y="55936"/>
                    </a:cubicBezTo>
                    <a:cubicBezTo>
                      <a:pt x="47708" y="58678"/>
                      <a:pt x="58679" y="55936"/>
                      <a:pt x="64164" y="47707"/>
                    </a:cubicBezTo>
                    <a:cubicBezTo>
                      <a:pt x="66907" y="39479"/>
                      <a:pt x="61422" y="28508"/>
                      <a:pt x="53193" y="23023"/>
                    </a:cubicBezTo>
                    <a:lnTo>
                      <a:pt x="53193" y="23023"/>
                    </a:lnTo>
                    <a:close/>
                  </a:path>
                </a:pathLst>
              </a:custGeom>
              <a:grpFill/>
              <a:ln w="27426" cap="flat">
                <a:noFill/>
                <a:prstDash val="solid"/>
                <a:miter/>
              </a:ln>
            </p:spPr>
            <p:txBody>
              <a:bodyPr rtlCol="0" anchor="ctr"/>
              <a:lstStyle/>
              <a:p>
                <a:endParaRPr lang="en-US"/>
              </a:p>
            </p:txBody>
          </p:sp>
          <p:sp>
            <p:nvSpPr>
              <p:cNvPr id="36" name="Freeform 1444">
                <a:extLst>
                  <a:ext uri="{FF2B5EF4-FFF2-40B4-BE49-F238E27FC236}">
                    <a16:creationId xmlns:a16="http://schemas.microsoft.com/office/drawing/2014/main" id="{9C6E5882-09E2-0343-045F-B1A00C47475B}"/>
                  </a:ext>
                </a:extLst>
              </p:cNvPr>
              <p:cNvSpPr/>
              <p:nvPr/>
            </p:nvSpPr>
            <p:spPr>
              <a:xfrm>
                <a:off x="8926615" y="3013338"/>
                <a:ext cx="76797" cy="38398"/>
              </a:xfrm>
              <a:custGeom>
                <a:avLst/>
                <a:gdLst>
                  <a:gd name="connsiteX0" fmla="*/ 57598 w 76797"/>
                  <a:gd name="connsiteY0" fmla="*/ 0 h 38398"/>
                  <a:gd name="connsiteX1" fmla="*/ 19200 w 76797"/>
                  <a:gd name="connsiteY1" fmla="*/ 0 h 38398"/>
                  <a:gd name="connsiteX2" fmla="*/ 0 w 76797"/>
                  <a:gd name="connsiteY2" fmla="*/ 19200 h 38398"/>
                  <a:gd name="connsiteX3" fmla="*/ 19200 w 76797"/>
                  <a:gd name="connsiteY3" fmla="*/ 38399 h 38398"/>
                  <a:gd name="connsiteX4" fmla="*/ 57598 w 76797"/>
                  <a:gd name="connsiteY4" fmla="*/ 38399 h 38398"/>
                  <a:gd name="connsiteX5" fmla="*/ 76798 w 76797"/>
                  <a:gd name="connsiteY5" fmla="*/ 19200 h 38398"/>
                  <a:gd name="connsiteX6" fmla="*/ 57598 w 76797"/>
                  <a:gd name="connsiteY6" fmla="*/ 0 h 38398"/>
                  <a:gd name="connsiteX7" fmla="*/ 57598 w 76797"/>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57598" y="0"/>
                    </a:moveTo>
                    <a:lnTo>
                      <a:pt x="19200" y="0"/>
                    </a:lnTo>
                    <a:cubicBezTo>
                      <a:pt x="8229" y="0"/>
                      <a:pt x="0" y="8228"/>
                      <a:pt x="0" y="19200"/>
                    </a:cubicBezTo>
                    <a:cubicBezTo>
                      <a:pt x="0" y="30171"/>
                      <a:pt x="8229" y="38399"/>
                      <a:pt x="19200" y="38399"/>
                    </a:cubicBezTo>
                    <a:lnTo>
                      <a:pt x="57598" y="38399"/>
                    </a:lnTo>
                    <a:cubicBezTo>
                      <a:pt x="68569" y="38399"/>
                      <a:pt x="76798" y="30171"/>
                      <a:pt x="76798" y="19200"/>
                    </a:cubicBezTo>
                    <a:cubicBezTo>
                      <a:pt x="76798" y="5486"/>
                      <a:pt x="68569" y="0"/>
                      <a:pt x="57598" y="0"/>
                    </a:cubicBezTo>
                    <a:lnTo>
                      <a:pt x="57598" y="0"/>
                    </a:lnTo>
                    <a:close/>
                  </a:path>
                </a:pathLst>
              </a:custGeom>
              <a:grpFill/>
              <a:ln w="27426" cap="flat">
                <a:noFill/>
                <a:prstDash val="solid"/>
                <a:miter/>
              </a:ln>
            </p:spPr>
            <p:txBody>
              <a:bodyPr rtlCol="0" anchor="ctr"/>
              <a:lstStyle/>
              <a:p>
                <a:endParaRPr lang="en-US"/>
              </a:p>
            </p:txBody>
          </p:sp>
          <p:sp>
            <p:nvSpPr>
              <p:cNvPr id="37" name="Freeform 1445">
                <a:extLst>
                  <a:ext uri="{FF2B5EF4-FFF2-40B4-BE49-F238E27FC236}">
                    <a16:creationId xmlns:a16="http://schemas.microsoft.com/office/drawing/2014/main" id="{678816CD-AAAE-F2BF-D753-EC297E956D56}"/>
                  </a:ext>
                </a:extLst>
              </p:cNvPr>
              <p:cNvSpPr/>
              <p:nvPr/>
            </p:nvSpPr>
            <p:spPr>
              <a:xfrm>
                <a:off x="9148779" y="3007853"/>
                <a:ext cx="76797" cy="38398"/>
              </a:xfrm>
              <a:custGeom>
                <a:avLst/>
                <a:gdLst>
                  <a:gd name="connsiteX0" fmla="*/ 57598 w 76797"/>
                  <a:gd name="connsiteY0" fmla="*/ 0 h 38398"/>
                  <a:gd name="connsiteX1" fmla="*/ 19200 w 76797"/>
                  <a:gd name="connsiteY1" fmla="*/ 0 h 38398"/>
                  <a:gd name="connsiteX2" fmla="*/ 0 w 76797"/>
                  <a:gd name="connsiteY2" fmla="*/ 19199 h 38398"/>
                  <a:gd name="connsiteX3" fmla="*/ 19200 w 76797"/>
                  <a:gd name="connsiteY3" fmla="*/ 38399 h 38398"/>
                  <a:gd name="connsiteX4" fmla="*/ 57598 w 76797"/>
                  <a:gd name="connsiteY4" fmla="*/ 38399 h 38398"/>
                  <a:gd name="connsiteX5" fmla="*/ 76797 w 76797"/>
                  <a:gd name="connsiteY5" fmla="*/ 19199 h 38398"/>
                  <a:gd name="connsiteX6" fmla="*/ 57598 w 76797"/>
                  <a:gd name="connsiteY6" fmla="*/ 0 h 38398"/>
                  <a:gd name="connsiteX7" fmla="*/ 57598 w 76797"/>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57598" y="0"/>
                    </a:moveTo>
                    <a:lnTo>
                      <a:pt x="19200" y="0"/>
                    </a:lnTo>
                    <a:cubicBezTo>
                      <a:pt x="8228" y="0"/>
                      <a:pt x="0" y="8228"/>
                      <a:pt x="0" y="19199"/>
                    </a:cubicBezTo>
                    <a:cubicBezTo>
                      <a:pt x="0" y="30171"/>
                      <a:pt x="8228" y="38399"/>
                      <a:pt x="19200" y="38399"/>
                    </a:cubicBezTo>
                    <a:lnTo>
                      <a:pt x="57598" y="38399"/>
                    </a:lnTo>
                    <a:cubicBezTo>
                      <a:pt x="68569" y="38399"/>
                      <a:pt x="76797" y="30171"/>
                      <a:pt x="76797" y="19199"/>
                    </a:cubicBezTo>
                    <a:cubicBezTo>
                      <a:pt x="76797" y="8228"/>
                      <a:pt x="68569" y="0"/>
                      <a:pt x="57598" y="0"/>
                    </a:cubicBezTo>
                    <a:lnTo>
                      <a:pt x="57598" y="0"/>
                    </a:lnTo>
                    <a:close/>
                  </a:path>
                </a:pathLst>
              </a:custGeom>
              <a:grpFill/>
              <a:ln w="27426" cap="flat">
                <a:noFill/>
                <a:prstDash val="solid"/>
                <a:miter/>
              </a:ln>
            </p:spPr>
            <p:txBody>
              <a:bodyPr rtlCol="0" anchor="ctr"/>
              <a:lstStyle/>
              <a:p>
                <a:endParaRPr lang="en-US"/>
              </a:p>
            </p:txBody>
          </p:sp>
          <p:sp>
            <p:nvSpPr>
              <p:cNvPr id="38" name="Freeform 1446">
                <a:extLst>
                  <a:ext uri="{FF2B5EF4-FFF2-40B4-BE49-F238E27FC236}">
                    <a16:creationId xmlns:a16="http://schemas.microsoft.com/office/drawing/2014/main" id="{312B4968-A85B-C07B-7C23-55052909E5BF}"/>
                  </a:ext>
                </a:extLst>
              </p:cNvPr>
              <p:cNvSpPr/>
              <p:nvPr/>
            </p:nvSpPr>
            <p:spPr>
              <a:xfrm>
                <a:off x="9017127" y="2626609"/>
                <a:ext cx="76797" cy="38398"/>
              </a:xfrm>
              <a:custGeom>
                <a:avLst/>
                <a:gdLst>
                  <a:gd name="connsiteX0" fmla="*/ 57597 w 76797"/>
                  <a:gd name="connsiteY0" fmla="*/ 38399 h 38398"/>
                  <a:gd name="connsiteX1" fmla="*/ 76797 w 76797"/>
                  <a:gd name="connsiteY1" fmla="*/ 19199 h 38398"/>
                  <a:gd name="connsiteX2" fmla="*/ 57597 w 76797"/>
                  <a:gd name="connsiteY2" fmla="*/ 0 h 38398"/>
                  <a:gd name="connsiteX3" fmla="*/ 19199 w 76797"/>
                  <a:gd name="connsiteY3" fmla="*/ 0 h 38398"/>
                  <a:gd name="connsiteX4" fmla="*/ 0 w 76797"/>
                  <a:gd name="connsiteY4" fmla="*/ 19199 h 38398"/>
                  <a:gd name="connsiteX5" fmla="*/ 19199 w 76797"/>
                  <a:gd name="connsiteY5" fmla="*/ 38399 h 38398"/>
                  <a:gd name="connsiteX6" fmla="*/ 57597 w 76797"/>
                  <a:gd name="connsiteY6" fmla="*/ 38399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797" h="38398">
                    <a:moveTo>
                      <a:pt x="57597" y="38399"/>
                    </a:moveTo>
                    <a:cubicBezTo>
                      <a:pt x="68569" y="38399"/>
                      <a:pt x="76797" y="30170"/>
                      <a:pt x="76797" y="19199"/>
                    </a:cubicBezTo>
                    <a:cubicBezTo>
                      <a:pt x="76797" y="8228"/>
                      <a:pt x="68569" y="0"/>
                      <a:pt x="57597" y="0"/>
                    </a:cubicBezTo>
                    <a:lnTo>
                      <a:pt x="19199" y="0"/>
                    </a:lnTo>
                    <a:cubicBezTo>
                      <a:pt x="8228" y="0"/>
                      <a:pt x="0" y="8228"/>
                      <a:pt x="0" y="19199"/>
                    </a:cubicBezTo>
                    <a:cubicBezTo>
                      <a:pt x="0" y="30170"/>
                      <a:pt x="8228" y="38399"/>
                      <a:pt x="19199" y="38399"/>
                    </a:cubicBezTo>
                    <a:lnTo>
                      <a:pt x="57597" y="38399"/>
                    </a:lnTo>
                    <a:close/>
                  </a:path>
                </a:pathLst>
              </a:custGeom>
              <a:grpFill/>
              <a:ln w="27426" cap="flat">
                <a:noFill/>
                <a:prstDash val="solid"/>
                <a:miter/>
              </a:ln>
            </p:spPr>
            <p:txBody>
              <a:bodyPr rtlCol="0" anchor="ctr"/>
              <a:lstStyle/>
              <a:p>
                <a:endParaRPr lang="en-US"/>
              </a:p>
            </p:txBody>
          </p:sp>
          <p:sp>
            <p:nvSpPr>
              <p:cNvPr id="39" name="Freeform 1447">
                <a:extLst>
                  <a:ext uri="{FF2B5EF4-FFF2-40B4-BE49-F238E27FC236}">
                    <a16:creationId xmlns:a16="http://schemas.microsoft.com/office/drawing/2014/main" id="{5F6964AE-CB81-830F-F35B-BAA54FABEE6C}"/>
                  </a:ext>
                </a:extLst>
              </p:cNvPr>
              <p:cNvSpPr/>
              <p:nvPr/>
            </p:nvSpPr>
            <p:spPr>
              <a:xfrm>
                <a:off x="9129580" y="2623866"/>
                <a:ext cx="76797" cy="38398"/>
              </a:xfrm>
              <a:custGeom>
                <a:avLst/>
                <a:gdLst>
                  <a:gd name="connsiteX0" fmla="*/ 57598 w 76797"/>
                  <a:gd name="connsiteY0" fmla="*/ 38399 h 38398"/>
                  <a:gd name="connsiteX1" fmla="*/ 76798 w 76797"/>
                  <a:gd name="connsiteY1" fmla="*/ 19199 h 38398"/>
                  <a:gd name="connsiteX2" fmla="*/ 57598 w 76797"/>
                  <a:gd name="connsiteY2" fmla="*/ 0 h 38398"/>
                  <a:gd name="connsiteX3" fmla="*/ 19200 w 76797"/>
                  <a:gd name="connsiteY3" fmla="*/ 0 h 38398"/>
                  <a:gd name="connsiteX4" fmla="*/ 0 w 76797"/>
                  <a:gd name="connsiteY4" fmla="*/ 19199 h 38398"/>
                  <a:gd name="connsiteX5" fmla="*/ 19200 w 76797"/>
                  <a:gd name="connsiteY5" fmla="*/ 38399 h 38398"/>
                  <a:gd name="connsiteX6" fmla="*/ 57598 w 76797"/>
                  <a:gd name="connsiteY6" fmla="*/ 38399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797" h="38398">
                    <a:moveTo>
                      <a:pt x="57598" y="38399"/>
                    </a:moveTo>
                    <a:cubicBezTo>
                      <a:pt x="68569" y="38399"/>
                      <a:pt x="76798" y="30171"/>
                      <a:pt x="76798" y="19199"/>
                    </a:cubicBezTo>
                    <a:cubicBezTo>
                      <a:pt x="76798" y="8228"/>
                      <a:pt x="68569" y="0"/>
                      <a:pt x="57598" y="0"/>
                    </a:cubicBezTo>
                    <a:lnTo>
                      <a:pt x="19200" y="0"/>
                    </a:lnTo>
                    <a:cubicBezTo>
                      <a:pt x="8229" y="0"/>
                      <a:pt x="0" y="8228"/>
                      <a:pt x="0" y="19199"/>
                    </a:cubicBezTo>
                    <a:cubicBezTo>
                      <a:pt x="0" y="30171"/>
                      <a:pt x="8229" y="38399"/>
                      <a:pt x="19200" y="38399"/>
                    </a:cubicBezTo>
                    <a:lnTo>
                      <a:pt x="57598" y="38399"/>
                    </a:lnTo>
                    <a:close/>
                  </a:path>
                </a:pathLst>
              </a:custGeom>
              <a:grpFill/>
              <a:ln w="27426" cap="flat">
                <a:noFill/>
                <a:prstDash val="solid"/>
                <a:miter/>
              </a:ln>
            </p:spPr>
            <p:txBody>
              <a:bodyPr rtlCol="0" anchor="ctr"/>
              <a:lstStyle/>
              <a:p>
                <a:endParaRPr lang="en-US"/>
              </a:p>
            </p:txBody>
          </p:sp>
          <p:sp>
            <p:nvSpPr>
              <p:cNvPr id="40" name="Freeform 1448">
                <a:extLst>
                  <a:ext uri="{FF2B5EF4-FFF2-40B4-BE49-F238E27FC236}">
                    <a16:creationId xmlns:a16="http://schemas.microsoft.com/office/drawing/2014/main" id="{AEE07B7A-3F4F-7AE8-176F-854BA0B37D44}"/>
                  </a:ext>
                </a:extLst>
              </p:cNvPr>
              <p:cNvSpPr/>
              <p:nvPr/>
            </p:nvSpPr>
            <p:spPr>
              <a:xfrm>
                <a:off x="9052782" y="2791175"/>
                <a:ext cx="76797" cy="38398"/>
              </a:xfrm>
              <a:custGeom>
                <a:avLst/>
                <a:gdLst>
                  <a:gd name="connsiteX0" fmla="*/ 57598 w 76797"/>
                  <a:gd name="connsiteY0" fmla="*/ 0 h 38398"/>
                  <a:gd name="connsiteX1" fmla="*/ 19200 w 76797"/>
                  <a:gd name="connsiteY1" fmla="*/ 0 h 38398"/>
                  <a:gd name="connsiteX2" fmla="*/ 0 w 76797"/>
                  <a:gd name="connsiteY2" fmla="*/ 19199 h 38398"/>
                  <a:gd name="connsiteX3" fmla="*/ 19200 w 76797"/>
                  <a:gd name="connsiteY3" fmla="*/ 38399 h 38398"/>
                  <a:gd name="connsiteX4" fmla="*/ 57598 w 76797"/>
                  <a:gd name="connsiteY4" fmla="*/ 38399 h 38398"/>
                  <a:gd name="connsiteX5" fmla="*/ 76797 w 76797"/>
                  <a:gd name="connsiteY5" fmla="*/ 19199 h 38398"/>
                  <a:gd name="connsiteX6" fmla="*/ 57598 w 76797"/>
                  <a:gd name="connsiteY6" fmla="*/ 0 h 38398"/>
                  <a:gd name="connsiteX7" fmla="*/ 57598 w 76797"/>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57598" y="0"/>
                    </a:moveTo>
                    <a:lnTo>
                      <a:pt x="19200" y="0"/>
                    </a:lnTo>
                    <a:cubicBezTo>
                      <a:pt x="8228" y="0"/>
                      <a:pt x="0" y="8228"/>
                      <a:pt x="0" y="19199"/>
                    </a:cubicBezTo>
                    <a:cubicBezTo>
                      <a:pt x="0" y="30170"/>
                      <a:pt x="8228" y="38399"/>
                      <a:pt x="19200" y="38399"/>
                    </a:cubicBezTo>
                    <a:lnTo>
                      <a:pt x="57598" y="38399"/>
                    </a:lnTo>
                    <a:cubicBezTo>
                      <a:pt x="68569" y="38399"/>
                      <a:pt x="76797" y="30170"/>
                      <a:pt x="76797" y="19199"/>
                    </a:cubicBezTo>
                    <a:cubicBezTo>
                      <a:pt x="76797" y="8228"/>
                      <a:pt x="68569" y="0"/>
                      <a:pt x="57598" y="0"/>
                    </a:cubicBezTo>
                    <a:lnTo>
                      <a:pt x="57598" y="0"/>
                    </a:lnTo>
                    <a:close/>
                  </a:path>
                </a:pathLst>
              </a:custGeom>
              <a:grpFill/>
              <a:ln w="27426" cap="flat">
                <a:noFill/>
                <a:prstDash val="solid"/>
                <a:miter/>
              </a:ln>
            </p:spPr>
            <p:txBody>
              <a:bodyPr rtlCol="0" anchor="ctr"/>
              <a:lstStyle/>
              <a:p>
                <a:endParaRPr lang="en-US"/>
              </a:p>
            </p:txBody>
          </p:sp>
          <p:sp>
            <p:nvSpPr>
              <p:cNvPr id="41" name="Freeform 1449">
                <a:extLst>
                  <a:ext uri="{FF2B5EF4-FFF2-40B4-BE49-F238E27FC236}">
                    <a16:creationId xmlns:a16="http://schemas.microsoft.com/office/drawing/2014/main" id="{F4EAB280-1C88-7A7C-C4CC-5E6DDFA6E01A}"/>
                  </a:ext>
                </a:extLst>
              </p:cNvPr>
              <p:cNvSpPr/>
              <p:nvPr/>
            </p:nvSpPr>
            <p:spPr>
              <a:xfrm>
                <a:off x="9039069" y="3010596"/>
                <a:ext cx="76797" cy="38398"/>
              </a:xfrm>
              <a:custGeom>
                <a:avLst/>
                <a:gdLst>
                  <a:gd name="connsiteX0" fmla="*/ 57598 w 76797"/>
                  <a:gd name="connsiteY0" fmla="*/ 0 h 38398"/>
                  <a:gd name="connsiteX1" fmla="*/ 19200 w 76797"/>
                  <a:gd name="connsiteY1" fmla="*/ 0 h 38398"/>
                  <a:gd name="connsiteX2" fmla="*/ 0 w 76797"/>
                  <a:gd name="connsiteY2" fmla="*/ 19199 h 38398"/>
                  <a:gd name="connsiteX3" fmla="*/ 19200 w 76797"/>
                  <a:gd name="connsiteY3" fmla="*/ 38399 h 38398"/>
                  <a:gd name="connsiteX4" fmla="*/ 57598 w 76797"/>
                  <a:gd name="connsiteY4" fmla="*/ 38399 h 38398"/>
                  <a:gd name="connsiteX5" fmla="*/ 76797 w 76797"/>
                  <a:gd name="connsiteY5" fmla="*/ 19199 h 38398"/>
                  <a:gd name="connsiteX6" fmla="*/ 57598 w 76797"/>
                  <a:gd name="connsiteY6" fmla="*/ 0 h 38398"/>
                  <a:gd name="connsiteX7" fmla="*/ 57598 w 76797"/>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97" h="38398">
                    <a:moveTo>
                      <a:pt x="57598" y="0"/>
                    </a:moveTo>
                    <a:lnTo>
                      <a:pt x="19200" y="0"/>
                    </a:lnTo>
                    <a:cubicBezTo>
                      <a:pt x="8228" y="0"/>
                      <a:pt x="0" y="8228"/>
                      <a:pt x="0" y="19199"/>
                    </a:cubicBezTo>
                    <a:cubicBezTo>
                      <a:pt x="0" y="30170"/>
                      <a:pt x="8228" y="38399"/>
                      <a:pt x="19200" y="38399"/>
                    </a:cubicBezTo>
                    <a:lnTo>
                      <a:pt x="57598" y="38399"/>
                    </a:lnTo>
                    <a:cubicBezTo>
                      <a:pt x="68569" y="38399"/>
                      <a:pt x="76797" y="30170"/>
                      <a:pt x="76797" y="19199"/>
                    </a:cubicBezTo>
                    <a:cubicBezTo>
                      <a:pt x="76797" y="8228"/>
                      <a:pt x="68569" y="0"/>
                      <a:pt x="57598" y="0"/>
                    </a:cubicBezTo>
                    <a:lnTo>
                      <a:pt x="57598" y="0"/>
                    </a:lnTo>
                    <a:close/>
                  </a:path>
                </a:pathLst>
              </a:custGeom>
              <a:grpFill/>
              <a:ln w="27426" cap="flat">
                <a:noFill/>
                <a:prstDash val="solid"/>
                <a:miter/>
              </a:ln>
            </p:spPr>
            <p:txBody>
              <a:bodyPr rtlCol="0" anchor="ctr"/>
              <a:lstStyle/>
              <a:p>
                <a:endParaRPr lang="en-US"/>
              </a:p>
            </p:txBody>
          </p:sp>
          <p:sp>
            <p:nvSpPr>
              <p:cNvPr id="42" name="Freeform 1450">
                <a:extLst>
                  <a:ext uri="{FF2B5EF4-FFF2-40B4-BE49-F238E27FC236}">
                    <a16:creationId xmlns:a16="http://schemas.microsoft.com/office/drawing/2014/main" id="{3F123BF5-6E13-5E3D-0E63-853ADD46EFD9}"/>
                  </a:ext>
                </a:extLst>
              </p:cNvPr>
              <p:cNvSpPr/>
              <p:nvPr/>
            </p:nvSpPr>
            <p:spPr>
              <a:xfrm>
                <a:off x="8611197" y="3018824"/>
                <a:ext cx="57598" cy="38398"/>
              </a:xfrm>
              <a:custGeom>
                <a:avLst/>
                <a:gdLst>
                  <a:gd name="connsiteX0" fmla="*/ 38399 w 57598"/>
                  <a:gd name="connsiteY0" fmla="*/ 0 h 38398"/>
                  <a:gd name="connsiteX1" fmla="*/ 19200 w 57598"/>
                  <a:gd name="connsiteY1" fmla="*/ 0 h 38398"/>
                  <a:gd name="connsiteX2" fmla="*/ 0 w 57598"/>
                  <a:gd name="connsiteY2" fmla="*/ 19199 h 38398"/>
                  <a:gd name="connsiteX3" fmla="*/ 19200 w 57598"/>
                  <a:gd name="connsiteY3" fmla="*/ 38399 h 38398"/>
                  <a:gd name="connsiteX4" fmla="*/ 38399 w 57598"/>
                  <a:gd name="connsiteY4" fmla="*/ 38399 h 38398"/>
                  <a:gd name="connsiteX5" fmla="*/ 57598 w 57598"/>
                  <a:gd name="connsiteY5" fmla="*/ 19199 h 38398"/>
                  <a:gd name="connsiteX6" fmla="*/ 38399 w 57598"/>
                  <a:gd name="connsiteY6" fmla="*/ 0 h 38398"/>
                  <a:gd name="connsiteX7" fmla="*/ 38399 w 57598"/>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38398">
                    <a:moveTo>
                      <a:pt x="38399" y="0"/>
                    </a:moveTo>
                    <a:lnTo>
                      <a:pt x="19200" y="0"/>
                    </a:lnTo>
                    <a:cubicBezTo>
                      <a:pt x="8229" y="0"/>
                      <a:pt x="0" y="8228"/>
                      <a:pt x="0" y="19199"/>
                    </a:cubicBezTo>
                    <a:cubicBezTo>
                      <a:pt x="0" y="30170"/>
                      <a:pt x="8229" y="38399"/>
                      <a:pt x="19200" y="38399"/>
                    </a:cubicBezTo>
                    <a:lnTo>
                      <a:pt x="38399" y="38399"/>
                    </a:lnTo>
                    <a:cubicBezTo>
                      <a:pt x="49370" y="38399"/>
                      <a:pt x="57598" y="30170"/>
                      <a:pt x="57598" y="19199"/>
                    </a:cubicBezTo>
                    <a:cubicBezTo>
                      <a:pt x="57598" y="5485"/>
                      <a:pt x="49370" y="0"/>
                      <a:pt x="38399" y="0"/>
                    </a:cubicBezTo>
                    <a:lnTo>
                      <a:pt x="38399" y="0"/>
                    </a:lnTo>
                    <a:close/>
                  </a:path>
                </a:pathLst>
              </a:custGeom>
              <a:grpFill/>
              <a:ln w="27426" cap="flat">
                <a:noFill/>
                <a:prstDash val="solid"/>
                <a:miter/>
              </a:ln>
            </p:spPr>
            <p:txBody>
              <a:bodyPr rtlCol="0" anchor="ctr"/>
              <a:lstStyle/>
              <a:p>
                <a:endParaRPr lang="en-US"/>
              </a:p>
            </p:txBody>
          </p:sp>
        </p:grpSp>
        <p:grpSp>
          <p:nvGrpSpPr>
            <p:cNvPr id="6" name="Graphic 3">
              <a:extLst>
                <a:ext uri="{FF2B5EF4-FFF2-40B4-BE49-F238E27FC236}">
                  <a16:creationId xmlns:a16="http://schemas.microsoft.com/office/drawing/2014/main" id="{B97F6EDB-1636-11E0-5B43-C5B7CF79908A}"/>
                </a:ext>
              </a:extLst>
            </p:cNvPr>
            <p:cNvGrpSpPr/>
            <p:nvPr/>
          </p:nvGrpSpPr>
          <p:grpSpPr>
            <a:xfrm>
              <a:off x="8623774" y="2128475"/>
              <a:ext cx="506941" cy="300655"/>
              <a:chOff x="8623774" y="2128475"/>
              <a:chExt cx="506941" cy="300655"/>
            </a:xfrm>
            <a:grpFill/>
          </p:grpSpPr>
          <p:grpSp>
            <p:nvGrpSpPr>
              <p:cNvPr id="7" name="Graphic 3">
                <a:extLst>
                  <a:ext uri="{FF2B5EF4-FFF2-40B4-BE49-F238E27FC236}">
                    <a16:creationId xmlns:a16="http://schemas.microsoft.com/office/drawing/2014/main" id="{1EA1BCB4-2F6F-00FF-EBA6-ABEA44EDB09E}"/>
                  </a:ext>
                </a:extLst>
              </p:cNvPr>
              <p:cNvGrpSpPr/>
              <p:nvPr/>
            </p:nvGrpSpPr>
            <p:grpSpPr>
              <a:xfrm>
                <a:off x="8623774" y="2128475"/>
                <a:ext cx="506941" cy="221114"/>
                <a:chOff x="8623774" y="2128475"/>
                <a:chExt cx="506941" cy="221114"/>
              </a:xfrm>
              <a:grpFill/>
            </p:grpSpPr>
            <p:sp>
              <p:nvSpPr>
                <p:cNvPr id="10" name="Freeform 1418">
                  <a:extLst>
                    <a:ext uri="{FF2B5EF4-FFF2-40B4-BE49-F238E27FC236}">
                      <a16:creationId xmlns:a16="http://schemas.microsoft.com/office/drawing/2014/main" id="{EB8D292C-5802-F667-C9AB-EEA332209524}"/>
                    </a:ext>
                  </a:extLst>
                </p:cNvPr>
                <p:cNvSpPr/>
                <p:nvPr/>
              </p:nvSpPr>
              <p:spPr>
                <a:xfrm>
                  <a:off x="8623774" y="2129048"/>
                  <a:ext cx="245242" cy="220541"/>
                </a:xfrm>
                <a:custGeom>
                  <a:avLst/>
                  <a:gdLst>
                    <a:gd name="connsiteX0" fmla="*/ 154731 w 245242"/>
                    <a:gd name="connsiteY0" fmla="*/ 220542 h 220541"/>
                    <a:gd name="connsiteX1" fmla="*/ 80676 w 245242"/>
                    <a:gd name="connsiteY1" fmla="*/ 190372 h 220541"/>
                    <a:gd name="connsiteX2" fmla="*/ 47764 w 245242"/>
                    <a:gd name="connsiteY2" fmla="*/ 116317 h 220541"/>
                    <a:gd name="connsiteX3" fmla="*/ 3879 w 245242"/>
                    <a:gd name="connsiteY3" fmla="*/ 25806 h 220541"/>
                    <a:gd name="connsiteX4" fmla="*/ 1136 w 245242"/>
                    <a:gd name="connsiteY4" fmla="*/ 12092 h 220541"/>
                    <a:gd name="connsiteX5" fmla="*/ 12107 w 245242"/>
                    <a:gd name="connsiteY5" fmla="*/ 3864 h 220541"/>
                    <a:gd name="connsiteX6" fmla="*/ 14850 w 245242"/>
                    <a:gd name="connsiteY6" fmla="*/ 3864 h 220541"/>
                    <a:gd name="connsiteX7" fmla="*/ 215073 w 245242"/>
                    <a:gd name="connsiteY7" fmla="*/ 47748 h 220541"/>
                    <a:gd name="connsiteX8" fmla="*/ 245242 w 245242"/>
                    <a:gd name="connsiteY8" fmla="*/ 124545 h 220541"/>
                    <a:gd name="connsiteX9" fmla="*/ 217815 w 245242"/>
                    <a:gd name="connsiteY9" fmla="*/ 195857 h 220541"/>
                    <a:gd name="connsiteX10" fmla="*/ 154731 w 245242"/>
                    <a:gd name="connsiteY10" fmla="*/ 220542 h 220541"/>
                    <a:gd name="connsiteX11" fmla="*/ 154731 w 245242"/>
                    <a:gd name="connsiteY11" fmla="*/ 220542 h 220541"/>
                    <a:gd name="connsiteX12" fmla="*/ 39535 w 245242"/>
                    <a:gd name="connsiteY12" fmla="*/ 25806 h 220541"/>
                    <a:gd name="connsiteX13" fmla="*/ 72448 w 245242"/>
                    <a:gd name="connsiteY13" fmla="*/ 110831 h 220541"/>
                    <a:gd name="connsiteX14" fmla="*/ 97133 w 245242"/>
                    <a:gd name="connsiteY14" fmla="*/ 171172 h 220541"/>
                    <a:gd name="connsiteX15" fmla="*/ 201359 w 245242"/>
                    <a:gd name="connsiteY15" fmla="*/ 173915 h 220541"/>
                    <a:gd name="connsiteX16" fmla="*/ 220558 w 245242"/>
                    <a:gd name="connsiteY16" fmla="*/ 121803 h 220541"/>
                    <a:gd name="connsiteX17" fmla="*/ 195873 w 245242"/>
                    <a:gd name="connsiteY17" fmla="*/ 64204 h 220541"/>
                    <a:gd name="connsiteX18" fmla="*/ 39535 w 245242"/>
                    <a:gd name="connsiteY18" fmla="*/ 25806 h 220541"/>
                    <a:gd name="connsiteX19" fmla="*/ 39535 w 245242"/>
                    <a:gd name="connsiteY19" fmla="*/ 25806 h 22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5242" h="220541">
                      <a:moveTo>
                        <a:pt x="154731" y="220542"/>
                      </a:moveTo>
                      <a:cubicBezTo>
                        <a:pt x="127304" y="220542"/>
                        <a:pt x="99876" y="209571"/>
                        <a:pt x="80676" y="190372"/>
                      </a:cubicBezTo>
                      <a:cubicBezTo>
                        <a:pt x="58734" y="168429"/>
                        <a:pt x="53249" y="143744"/>
                        <a:pt x="47764" y="116317"/>
                      </a:cubicBezTo>
                      <a:cubicBezTo>
                        <a:pt x="42278" y="86147"/>
                        <a:pt x="34050" y="53233"/>
                        <a:pt x="3879" y="25806"/>
                      </a:cubicBezTo>
                      <a:cubicBezTo>
                        <a:pt x="1136" y="23063"/>
                        <a:pt x="-1607" y="17577"/>
                        <a:pt x="1136" y="12092"/>
                      </a:cubicBezTo>
                      <a:cubicBezTo>
                        <a:pt x="3879" y="6606"/>
                        <a:pt x="6622" y="3864"/>
                        <a:pt x="12107" y="3864"/>
                      </a:cubicBezTo>
                      <a:lnTo>
                        <a:pt x="14850" y="3864"/>
                      </a:lnTo>
                      <a:cubicBezTo>
                        <a:pt x="77934" y="-1622"/>
                        <a:pt x="154731" y="-9850"/>
                        <a:pt x="215073" y="47748"/>
                      </a:cubicBezTo>
                      <a:cubicBezTo>
                        <a:pt x="234271" y="66947"/>
                        <a:pt x="245242" y="94375"/>
                        <a:pt x="245242" y="124545"/>
                      </a:cubicBezTo>
                      <a:cubicBezTo>
                        <a:pt x="245242" y="151973"/>
                        <a:pt x="237014" y="176658"/>
                        <a:pt x="217815" y="195857"/>
                      </a:cubicBezTo>
                      <a:cubicBezTo>
                        <a:pt x="204101" y="209571"/>
                        <a:pt x="179416" y="220542"/>
                        <a:pt x="154731" y="220542"/>
                      </a:cubicBezTo>
                      <a:lnTo>
                        <a:pt x="154731" y="220542"/>
                      </a:lnTo>
                      <a:close/>
                      <a:moveTo>
                        <a:pt x="39535" y="25806"/>
                      </a:moveTo>
                      <a:cubicBezTo>
                        <a:pt x="61477" y="55976"/>
                        <a:pt x="66962" y="83404"/>
                        <a:pt x="72448" y="110831"/>
                      </a:cubicBezTo>
                      <a:cubicBezTo>
                        <a:pt x="77934" y="135516"/>
                        <a:pt x="80676" y="157458"/>
                        <a:pt x="97133" y="171172"/>
                      </a:cubicBezTo>
                      <a:cubicBezTo>
                        <a:pt x="124561" y="195857"/>
                        <a:pt x="173931" y="204085"/>
                        <a:pt x="201359" y="173915"/>
                      </a:cubicBezTo>
                      <a:cubicBezTo>
                        <a:pt x="215073" y="160201"/>
                        <a:pt x="220558" y="141002"/>
                        <a:pt x="220558" y="121803"/>
                      </a:cubicBezTo>
                      <a:cubicBezTo>
                        <a:pt x="220558" y="99860"/>
                        <a:pt x="212330" y="77918"/>
                        <a:pt x="195873" y="64204"/>
                      </a:cubicBezTo>
                      <a:cubicBezTo>
                        <a:pt x="154731" y="20320"/>
                        <a:pt x="94390" y="20320"/>
                        <a:pt x="39535" y="25806"/>
                      </a:cubicBezTo>
                      <a:lnTo>
                        <a:pt x="39535" y="25806"/>
                      </a:lnTo>
                      <a:close/>
                    </a:path>
                  </a:pathLst>
                </a:custGeom>
                <a:solidFill>
                  <a:srgbClr val="60BA47"/>
                </a:solidFill>
                <a:ln w="27426" cap="flat">
                  <a:noFill/>
                  <a:prstDash val="solid"/>
                  <a:miter/>
                </a:ln>
              </p:spPr>
              <p:txBody>
                <a:bodyPr rtlCol="0" anchor="ctr"/>
                <a:lstStyle/>
                <a:p>
                  <a:endParaRPr lang="en-US"/>
                </a:p>
              </p:txBody>
            </p:sp>
            <p:sp>
              <p:nvSpPr>
                <p:cNvPr id="11" name="Freeform 1419">
                  <a:extLst>
                    <a:ext uri="{FF2B5EF4-FFF2-40B4-BE49-F238E27FC236}">
                      <a16:creationId xmlns:a16="http://schemas.microsoft.com/office/drawing/2014/main" id="{3C3F09ED-6A91-710C-F0CF-10EBF466636C}"/>
                    </a:ext>
                  </a:extLst>
                </p:cNvPr>
                <p:cNvSpPr/>
                <p:nvPr/>
              </p:nvSpPr>
              <p:spPr>
                <a:xfrm>
                  <a:off x="8928478" y="2128475"/>
                  <a:ext cx="202238" cy="174487"/>
                </a:xfrm>
                <a:custGeom>
                  <a:avLst/>
                  <a:gdLst>
                    <a:gd name="connsiteX0" fmla="*/ 74935 w 202238"/>
                    <a:gd name="connsiteY0" fmla="*/ 174488 h 174487"/>
                    <a:gd name="connsiteX1" fmla="*/ 69449 w 202238"/>
                    <a:gd name="connsiteY1" fmla="*/ 174488 h 174487"/>
                    <a:gd name="connsiteX2" fmla="*/ 20080 w 202238"/>
                    <a:gd name="connsiteY2" fmla="*/ 152546 h 174487"/>
                    <a:gd name="connsiteX3" fmla="*/ 28308 w 202238"/>
                    <a:gd name="connsiteY3" fmla="*/ 34607 h 174487"/>
                    <a:gd name="connsiteX4" fmla="*/ 187388 w 202238"/>
                    <a:gd name="connsiteY4" fmla="*/ 4437 h 174487"/>
                    <a:gd name="connsiteX5" fmla="*/ 190131 w 202238"/>
                    <a:gd name="connsiteY5" fmla="*/ 4437 h 174487"/>
                    <a:gd name="connsiteX6" fmla="*/ 201102 w 202238"/>
                    <a:gd name="connsiteY6" fmla="*/ 12665 h 174487"/>
                    <a:gd name="connsiteX7" fmla="*/ 198360 w 202238"/>
                    <a:gd name="connsiteY7" fmla="*/ 26379 h 174487"/>
                    <a:gd name="connsiteX8" fmla="*/ 162703 w 202238"/>
                    <a:gd name="connsiteY8" fmla="*/ 94948 h 174487"/>
                    <a:gd name="connsiteX9" fmla="*/ 135276 w 202238"/>
                    <a:gd name="connsiteY9" fmla="*/ 152546 h 174487"/>
                    <a:gd name="connsiteX10" fmla="*/ 74935 w 202238"/>
                    <a:gd name="connsiteY10" fmla="*/ 174488 h 174487"/>
                    <a:gd name="connsiteX11" fmla="*/ 74935 w 202238"/>
                    <a:gd name="connsiteY11" fmla="*/ 174488 h 174487"/>
                    <a:gd name="connsiteX12" fmla="*/ 127048 w 202238"/>
                    <a:gd name="connsiteY12" fmla="*/ 23636 h 174487"/>
                    <a:gd name="connsiteX13" fmla="*/ 42022 w 202238"/>
                    <a:gd name="connsiteY13" fmla="*/ 53807 h 174487"/>
                    <a:gd name="connsiteX14" fmla="*/ 36536 w 202238"/>
                    <a:gd name="connsiteY14" fmla="*/ 136089 h 174487"/>
                    <a:gd name="connsiteX15" fmla="*/ 69449 w 202238"/>
                    <a:gd name="connsiteY15" fmla="*/ 149803 h 174487"/>
                    <a:gd name="connsiteX16" fmla="*/ 116077 w 202238"/>
                    <a:gd name="connsiteY16" fmla="*/ 136089 h 174487"/>
                    <a:gd name="connsiteX17" fmla="*/ 135276 w 202238"/>
                    <a:gd name="connsiteY17" fmla="*/ 89462 h 174487"/>
                    <a:gd name="connsiteX18" fmla="*/ 159960 w 202238"/>
                    <a:gd name="connsiteY18" fmla="*/ 26379 h 174487"/>
                    <a:gd name="connsiteX19" fmla="*/ 127048 w 202238"/>
                    <a:gd name="connsiteY19" fmla="*/ 23636 h 174487"/>
                    <a:gd name="connsiteX20" fmla="*/ 127048 w 202238"/>
                    <a:gd name="connsiteY20" fmla="*/ 23636 h 174487"/>
                    <a:gd name="connsiteX21" fmla="*/ 36536 w 202238"/>
                    <a:gd name="connsiteY21" fmla="*/ 42835 h 174487"/>
                    <a:gd name="connsiteX22" fmla="*/ 36536 w 202238"/>
                    <a:gd name="connsiteY22" fmla="*/ 42835 h 174487"/>
                    <a:gd name="connsiteX23" fmla="*/ 36536 w 202238"/>
                    <a:gd name="connsiteY23" fmla="*/ 42835 h 17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2238" h="174487">
                      <a:moveTo>
                        <a:pt x="74935" y="174488"/>
                      </a:moveTo>
                      <a:cubicBezTo>
                        <a:pt x="72192" y="174488"/>
                        <a:pt x="72192" y="174488"/>
                        <a:pt x="69449" y="174488"/>
                      </a:cubicBezTo>
                      <a:cubicBezTo>
                        <a:pt x="50250" y="174488"/>
                        <a:pt x="31051" y="166260"/>
                        <a:pt x="20080" y="152546"/>
                      </a:cubicBezTo>
                      <a:cubicBezTo>
                        <a:pt x="-12834" y="114147"/>
                        <a:pt x="-1863" y="62035"/>
                        <a:pt x="28308" y="34607"/>
                      </a:cubicBezTo>
                      <a:cubicBezTo>
                        <a:pt x="77677" y="-9277"/>
                        <a:pt x="138019" y="-1049"/>
                        <a:pt x="187388" y="4437"/>
                      </a:cubicBezTo>
                      <a:lnTo>
                        <a:pt x="190131" y="4437"/>
                      </a:lnTo>
                      <a:cubicBezTo>
                        <a:pt x="195617" y="4437"/>
                        <a:pt x="198360" y="7179"/>
                        <a:pt x="201102" y="12665"/>
                      </a:cubicBezTo>
                      <a:cubicBezTo>
                        <a:pt x="203845" y="18151"/>
                        <a:pt x="201102" y="23636"/>
                        <a:pt x="198360" y="26379"/>
                      </a:cubicBezTo>
                      <a:cubicBezTo>
                        <a:pt x="173674" y="48321"/>
                        <a:pt x="168189" y="73006"/>
                        <a:pt x="162703" y="94948"/>
                      </a:cubicBezTo>
                      <a:cubicBezTo>
                        <a:pt x="157218" y="116890"/>
                        <a:pt x="151732" y="136089"/>
                        <a:pt x="135276" y="152546"/>
                      </a:cubicBezTo>
                      <a:cubicBezTo>
                        <a:pt x="118819" y="166260"/>
                        <a:pt x="96877" y="174488"/>
                        <a:pt x="74935" y="174488"/>
                      </a:cubicBezTo>
                      <a:lnTo>
                        <a:pt x="74935" y="174488"/>
                      </a:lnTo>
                      <a:close/>
                      <a:moveTo>
                        <a:pt x="127048" y="23636"/>
                      </a:moveTo>
                      <a:cubicBezTo>
                        <a:pt x="96877" y="23636"/>
                        <a:pt x="66706" y="29121"/>
                        <a:pt x="42022" y="53807"/>
                      </a:cubicBezTo>
                      <a:cubicBezTo>
                        <a:pt x="20080" y="73006"/>
                        <a:pt x="14594" y="108662"/>
                        <a:pt x="36536" y="136089"/>
                      </a:cubicBezTo>
                      <a:cubicBezTo>
                        <a:pt x="44765" y="144317"/>
                        <a:pt x="55736" y="149803"/>
                        <a:pt x="69449" y="149803"/>
                      </a:cubicBezTo>
                      <a:cubicBezTo>
                        <a:pt x="85906" y="149803"/>
                        <a:pt x="102363" y="144317"/>
                        <a:pt x="116077" y="136089"/>
                      </a:cubicBezTo>
                      <a:cubicBezTo>
                        <a:pt x="127048" y="125118"/>
                        <a:pt x="132533" y="108662"/>
                        <a:pt x="135276" y="89462"/>
                      </a:cubicBezTo>
                      <a:cubicBezTo>
                        <a:pt x="140762" y="70263"/>
                        <a:pt x="146247" y="48321"/>
                        <a:pt x="159960" y="26379"/>
                      </a:cubicBezTo>
                      <a:cubicBezTo>
                        <a:pt x="151732" y="23636"/>
                        <a:pt x="138019" y="23636"/>
                        <a:pt x="127048" y="23636"/>
                      </a:cubicBezTo>
                      <a:lnTo>
                        <a:pt x="127048" y="23636"/>
                      </a:lnTo>
                      <a:close/>
                      <a:moveTo>
                        <a:pt x="36536" y="42835"/>
                      </a:moveTo>
                      <a:lnTo>
                        <a:pt x="36536" y="42835"/>
                      </a:lnTo>
                      <a:lnTo>
                        <a:pt x="36536" y="42835"/>
                      </a:lnTo>
                      <a:close/>
                    </a:path>
                  </a:pathLst>
                </a:custGeom>
                <a:solidFill>
                  <a:srgbClr val="60BA47"/>
                </a:solidFill>
                <a:ln w="27426" cap="flat">
                  <a:noFill/>
                  <a:prstDash val="solid"/>
                  <a:miter/>
                </a:ln>
              </p:spPr>
              <p:txBody>
                <a:bodyPr rtlCol="0" anchor="ctr"/>
                <a:lstStyle/>
                <a:p>
                  <a:endParaRPr lang="en-US"/>
                </a:p>
              </p:txBody>
            </p:sp>
          </p:grpSp>
          <p:sp>
            <p:nvSpPr>
              <p:cNvPr id="8" name="Freeform 1416">
                <a:extLst>
                  <a:ext uri="{FF2B5EF4-FFF2-40B4-BE49-F238E27FC236}">
                    <a16:creationId xmlns:a16="http://schemas.microsoft.com/office/drawing/2014/main" id="{92CDCEA0-3B10-5EF9-0369-E766D6AB3636}"/>
                  </a:ext>
                </a:extLst>
              </p:cNvPr>
              <p:cNvSpPr/>
              <p:nvPr/>
            </p:nvSpPr>
            <p:spPr>
              <a:xfrm>
                <a:off x="8776704" y="2232592"/>
                <a:ext cx="128682" cy="196537"/>
              </a:xfrm>
              <a:custGeom>
                <a:avLst/>
                <a:gdLst>
                  <a:gd name="connsiteX0" fmla="*/ 116998 w 128682"/>
                  <a:gd name="connsiteY0" fmla="*/ 196538 h 196537"/>
                  <a:gd name="connsiteX1" fmla="*/ 106027 w 128682"/>
                  <a:gd name="connsiteY1" fmla="*/ 185567 h 196537"/>
                  <a:gd name="connsiteX2" fmla="*/ 4545 w 128682"/>
                  <a:gd name="connsiteY2" fmla="*/ 21001 h 196537"/>
                  <a:gd name="connsiteX3" fmla="*/ 1802 w 128682"/>
                  <a:gd name="connsiteY3" fmla="*/ 4545 h 196537"/>
                  <a:gd name="connsiteX4" fmla="*/ 18258 w 128682"/>
                  <a:gd name="connsiteY4" fmla="*/ 1802 h 196537"/>
                  <a:gd name="connsiteX5" fmla="*/ 127969 w 128682"/>
                  <a:gd name="connsiteY5" fmla="*/ 180081 h 196537"/>
                  <a:gd name="connsiteX6" fmla="*/ 116998 w 128682"/>
                  <a:gd name="connsiteY6" fmla="*/ 196538 h 196537"/>
                  <a:gd name="connsiteX7" fmla="*/ 116998 w 128682"/>
                  <a:gd name="connsiteY7" fmla="*/ 196538 h 196537"/>
                  <a:gd name="connsiteX8" fmla="*/ 116998 w 128682"/>
                  <a:gd name="connsiteY8" fmla="*/ 196538 h 196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682" h="196537">
                    <a:moveTo>
                      <a:pt x="116998" y="196538"/>
                    </a:moveTo>
                    <a:cubicBezTo>
                      <a:pt x="111512" y="196538"/>
                      <a:pt x="106027" y="191052"/>
                      <a:pt x="106027" y="185567"/>
                    </a:cubicBezTo>
                    <a:cubicBezTo>
                      <a:pt x="89571" y="95055"/>
                      <a:pt x="4545" y="23744"/>
                      <a:pt x="4545" y="21001"/>
                    </a:cubicBezTo>
                    <a:cubicBezTo>
                      <a:pt x="-941" y="15516"/>
                      <a:pt x="-941" y="7287"/>
                      <a:pt x="1802" y="4545"/>
                    </a:cubicBezTo>
                    <a:cubicBezTo>
                      <a:pt x="7288" y="-941"/>
                      <a:pt x="15516" y="-941"/>
                      <a:pt x="18258" y="1802"/>
                    </a:cubicBezTo>
                    <a:cubicBezTo>
                      <a:pt x="21001" y="4545"/>
                      <a:pt x="111512" y="81342"/>
                      <a:pt x="127969" y="180081"/>
                    </a:cubicBezTo>
                    <a:cubicBezTo>
                      <a:pt x="130712" y="188310"/>
                      <a:pt x="125226" y="196538"/>
                      <a:pt x="116998" y="196538"/>
                    </a:cubicBezTo>
                    <a:cubicBezTo>
                      <a:pt x="116998" y="196538"/>
                      <a:pt x="116998" y="196538"/>
                      <a:pt x="116998" y="196538"/>
                    </a:cubicBezTo>
                    <a:lnTo>
                      <a:pt x="116998" y="196538"/>
                    </a:lnTo>
                    <a:close/>
                  </a:path>
                </a:pathLst>
              </a:custGeom>
              <a:solidFill>
                <a:srgbClr val="60BA47"/>
              </a:solidFill>
              <a:ln w="27426" cap="flat">
                <a:noFill/>
                <a:prstDash val="solid"/>
                <a:miter/>
              </a:ln>
            </p:spPr>
            <p:txBody>
              <a:bodyPr rtlCol="0" anchor="ctr"/>
              <a:lstStyle/>
              <a:p>
                <a:endParaRPr lang="en-US"/>
              </a:p>
            </p:txBody>
          </p:sp>
          <p:sp>
            <p:nvSpPr>
              <p:cNvPr id="9" name="Freeform 1417">
                <a:extLst>
                  <a:ext uri="{FF2B5EF4-FFF2-40B4-BE49-F238E27FC236}">
                    <a16:creationId xmlns:a16="http://schemas.microsoft.com/office/drawing/2014/main" id="{8C376A82-2D7C-05FA-6894-3C9EA56E20CF}"/>
                  </a:ext>
                </a:extLst>
              </p:cNvPr>
              <p:cNvSpPr/>
              <p:nvPr/>
            </p:nvSpPr>
            <p:spPr>
              <a:xfrm>
                <a:off x="8879988" y="2238239"/>
                <a:ext cx="133292" cy="190891"/>
              </a:xfrm>
              <a:custGeom>
                <a:avLst/>
                <a:gdLst>
                  <a:gd name="connsiteX0" fmla="*/ 13714 w 133292"/>
                  <a:gd name="connsiteY0" fmla="*/ 190891 h 190891"/>
                  <a:gd name="connsiteX1" fmla="*/ 13714 w 133292"/>
                  <a:gd name="connsiteY1" fmla="*/ 190891 h 190891"/>
                  <a:gd name="connsiteX2" fmla="*/ 0 w 133292"/>
                  <a:gd name="connsiteY2" fmla="*/ 177177 h 190891"/>
                  <a:gd name="connsiteX3" fmla="*/ 115196 w 133292"/>
                  <a:gd name="connsiteY3" fmla="*/ 1640 h 190891"/>
                  <a:gd name="connsiteX4" fmla="*/ 131653 w 133292"/>
                  <a:gd name="connsiteY4" fmla="*/ 7126 h 190891"/>
                  <a:gd name="connsiteX5" fmla="*/ 126167 w 133292"/>
                  <a:gd name="connsiteY5" fmla="*/ 23582 h 190891"/>
                  <a:gd name="connsiteX6" fmla="*/ 21942 w 133292"/>
                  <a:gd name="connsiteY6" fmla="*/ 177177 h 190891"/>
                  <a:gd name="connsiteX7" fmla="*/ 13714 w 133292"/>
                  <a:gd name="connsiteY7" fmla="*/ 190891 h 190891"/>
                  <a:gd name="connsiteX8" fmla="*/ 13714 w 133292"/>
                  <a:gd name="connsiteY8" fmla="*/ 190891 h 190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292" h="190891">
                    <a:moveTo>
                      <a:pt x="13714" y="190891"/>
                    </a:moveTo>
                    <a:cubicBezTo>
                      <a:pt x="13714" y="190891"/>
                      <a:pt x="13714" y="190891"/>
                      <a:pt x="13714" y="190891"/>
                    </a:cubicBezTo>
                    <a:cubicBezTo>
                      <a:pt x="5485" y="190891"/>
                      <a:pt x="0" y="185405"/>
                      <a:pt x="0" y="177177"/>
                    </a:cubicBezTo>
                    <a:cubicBezTo>
                      <a:pt x="0" y="171691"/>
                      <a:pt x="2742" y="70209"/>
                      <a:pt x="115196" y="1640"/>
                    </a:cubicBezTo>
                    <a:cubicBezTo>
                      <a:pt x="120682" y="-1102"/>
                      <a:pt x="128910" y="-1102"/>
                      <a:pt x="131653" y="7126"/>
                    </a:cubicBezTo>
                    <a:cubicBezTo>
                      <a:pt x="134395" y="12612"/>
                      <a:pt x="134395" y="20839"/>
                      <a:pt x="126167" y="23582"/>
                    </a:cubicBezTo>
                    <a:cubicBezTo>
                      <a:pt x="24685" y="83923"/>
                      <a:pt x="21942" y="174434"/>
                      <a:pt x="21942" y="177177"/>
                    </a:cubicBezTo>
                    <a:cubicBezTo>
                      <a:pt x="24685" y="185405"/>
                      <a:pt x="19199" y="190891"/>
                      <a:pt x="13714" y="190891"/>
                    </a:cubicBezTo>
                    <a:lnTo>
                      <a:pt x="13714" y="190891"/>
                    </a:lnTo>
                    <a:close/>
                  </a:path>
                </a:pathLst>
              </a:custGeom>
              <a:solidFill>
                <a:srgbClr val="60BA47"/>
              </a:solid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048202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B58AC65-3D0B-B6BA-9E7D-60F62BFCA44A}"/>
              </a:ext>
            </a:extLst>
          </p:cNvPr>
          <p:cNvSpPr>
            <a:spLocks noGrp="1"/>
          </p:cNvSpPr>
          <p:nvPr>
            <p:ph type="body" sz="quarter" idx="30"/>
          </p:nvPr>
        </p:nvSpPr>
        <p:spPr>
          <a:xfrm>
            <a:off x="5268686" y="338738"/>
            <a:ext cx="6110631" cy="845139"/>
          </a:xfrm>
        </p:spPr>
        <p:txBody>
          <a:bodyPr/>
          <a:lstStyle/>
          <a:p>
            <a:r>
              <a:rPr lang="en-GB" b="1" dirty="0"/>
              <a:t>Markttrends und Wirtschaftsindikatoren</a:t>
            </a:r>
            <a:endParaRPr lang="en-GB" dirty="0"/>
          </a:p>
          <a:p>
            <a:endParaRPr lang="en-IE" dirty="0"/>
          </a:p>
        </p:txBody>
      </p:sp>
      <p:sp>
        <p:nvSpPr>
          <p:cNvPr id="4" name="Text Placeholder 3">
            <a:extLst>
              <a:ext uri="{FF2B5EF4-FFF2-40B4-BE49-F238E27FC236}">
                <a16:creationId xmlns:a16="http://schemas.microsoft.com/office/drawing/2014/main" id="{866D1600-C773-7FD6-95B9-4BAF8820D474}"/>
              </a:ext>
            </a:extLst>
          </p:cNvPr>
          <p:cNvSpPr>
            <a:spLocks noGrp="1"/>
          </p:cNvSpPr>
          <p:nvPr>
            <p:ph type="body" sz="quarter" idx="48"/>
          </p:nvPr>
        </p:nvSpPr>
        <p:spPr>
          <a:xfrm>
            <a:off x="5256505" y="1695715"/>
            <a:ext cx="6284186" cy="3466570"/>
          </a:xfrm>
        </p:spPr>
        <p:txBody>
          <a:bodyPr/>
          <a:lstStyle/>
          <a:p>
            <a:pPr algn="just">
              <a:spcAft>
                <a:spcPts val="600"/>
              </a:spcAft>
            </a:pPr>
            <a:r>
              <a:rPr lang="en-IE" sz="2000" dirty="0"/>
              <a:t>Die Kenntnis von Markttrends und Wirtschaftsindikatoren ist für Unternehmen, die sich auf einem dynamischen Markt behaupten wollen, von zentraler Bedeutung. </a:t>
            </a:r>
          </a:p>
          <a:p>
            <a:pPr algn="just">
              <a:spcAft>
                <a:spcPts val="600"/>
              </a:spcAft>
            </a:pPr>
            <a:r>
              <a:rPr lang="en-IE" sz="2000" dirty="0"/>
              <a:t>Durch die Analyse von Veränderungen im Verbraucherverhalten, technologischen Fortschritten und rechtlichen Rahmenbedingungen können Unternehmen ihre Strategien proaktiv anpassen, um langfristig erfolgreich zu sein. </a:t>
            </a:r>
          </a:p>
          <a:p>
            <a:pPr algn="just">
              <a:spcAft>
                <a:spcPts val="600"/>
              </a:spcAft>
            </a:pPr>
            <a:r>
              <a:rPr lang="en-IE" sz="2000" dirty="0"/>
              <a:t>Die Antizipation dieser Veränderungen ermöglicht es den Unternehmen, wirksam zu innovieren, sich bietende Chancen zu nutzen und Risiken zu verringern, um so ihre Relevanz und Wettbewerbsfähigkeit dauerhaft zu sichern.</a:t>
            </a:r>
          </a:p>
          <a:p>
            <a:pPr>
              <a:spcAft>
                <a:spcPts val="600"/>
              </a:spcAft>
            </a:pPr>
            <a:endParaRPr lang="en-IE" sz="2000" dirty="0"/>
          </a:p>
        </p:txBody>
      </p:sp>
      <p:pic>
        <p:nvPicPr>
          <p:cNvPr id="2" name="Picture Placeholder 5" descr="Documents on desk">
            <a:extLst>
              <a:ext uri="{FF2B5EF4-FFF2-40B4-BE49-F238E27FC236}">
                <a16:creationId xmlns:a16="http://schemas.microsoft.com/office/drawing/2014/main" id="{E74C9341-E159-3E95-4D0E-451A5CFFC390}"/>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7569" r="27569"/>
          <a:stretch/>
        </p:blipFill>
        <p:spPr>
          <a:xfrm>
            <a:off x="0" y="0"/>
            <a:ext cx="4614863" cy="6858000"/>
          </a:xfrm>
        </p:spPr>
      </p:pic>
    </p:spTree>
    <p:extLst>
      <p:ext uri="{BB962C8B-B14F-4D97-AF65-F5344CB8AC3E}">
        <p14:creationId xmlns:p14="http://schemas.microsoft.com/office/powerpoint/2010/main" val="36399815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529585"/>
            <a:ext cx="10483431" cy="804265"/>
          </a:xfrm>
        </p:spPr>
        <p:txBody>
          <a:bodyPr/>
          <a:lstStyle/>
          <a:p>
            <a:r>
              <a:rPr lang="en-US" dirty="0"/>
              <a:t>NACHHALTIGKEIT IN DEN MITTELPUNKT STELLEN</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1347737"/>
            <a:ext cx="10483429" cy="4920143"/>
          </a:xfrm>
        </p:spPr>
        <p:txBody>
          <a:bodyPr/>
          <a:lstStyle/>
          <a:p>
            <a:pPr algn="just">
              <a:spcAft>
                <a:spcPts val="600"/>
              </a:spcAft>
            </a:pPr>
            <a:r>
              <a:rPr lang="en-GB" dirty="0"/>
              <a:t>Nachhaltigkeit bedeutet, die Bedürfnisse der Menschen, des Planeten und des Gewinns in Einklang zu bringen. </a:t>
            </a:r>
          </a:p>
          <a:p>
            <a:pPr algn="just">
              <a:spcAft>
                <a:spcPts val="600"/>
              </a:spcAft>
            </a:pPr>
            <a:r>
              <a:rPr lang="en-GB" b="1" dirty="0">
                <a:highlight>
                  <a:srgbClr val="F36C2F"/>
                </a:highlight>
              </a:rPr>
              <a:t>Menschen: </a:t>
            </a:r>
            <a:r>
              <a:rPr lang="en-GB" dirty="0"/>
              <a:t>Soziale Verantwortung umfasst faire Arbeitspraktiken, gesellschaftliches Engagement und die Förderung von Vielfalt und Integration. Sie betont das Wohlergehen von Mitarbeitern, Kunden und der breiteren Gemeinschaft.</a:t>
            </a:r>
            <a:endParaRPr lang="en-GB" b="1" dirty="0"/>
          </a:p>
          <a:p>
            <a:pPr algn="just">
              <a:spcAft>
                <a:spcPts val="600"/>
              </a:spcAft>
            </a:pPr>
            <a:r>
              <a:rPr lang="en-GB" b="1" dirty="0">
                <a:highlight>
                  <a:srgbClr val="F36C2F"/>
                </a:highlight>
              </a:rPr>
              <a:t>Planet: </a:t>
            </a:r>
            <a:r>
              <a:rPr lang="en-GB" dirty="0"/>
              <a:t>Umweltbewusstes Handeln umfasst die Reduzierung von Abfällen, die Schonung von Ressourcen und die Minimierung des ökologischen Fußabdrucks. Nachhaltige Praktiken zielen auf den Schutz und die Wiederherstellung natürlicher Ökosysteme ab.</a:t>
            </a:r>
          </a:p>
          <a:p>
            <a:pPr algn="just">
              <a:spcAft>
                <a:spcPts val="600"/>
              </a:spcAft>
            </a:pPr>
            <a:r>
              <a:rPr lang="en-GB" b="1" dirty="0">
                <a:highlight>
                  <a:srgbClr val="F36C2F"/>
                </a:highlight>
              </a:rPr>
              <a:t>Profite: </a:t>
            </a:r>
            <a:r>
              <a:rPr lang="en-GB" dirty="0"/>
              <a:t>Die wirtschaftliche Lebensfähigkeit gewährleistet, dass das Unternehmen rentabel und wettbewerbsfähig bleibt. Nachhaltige Strategien können zu Innovationen, Kosteneinsparungen und langfristigem Wachstum führen.</a:t>
            </a:r>
            <a:endParaRPr lang="en-US" dirty="0"/>
          </a:p>
        </p:txBody>
      </p:sp>
      <p:grpSp>
        <p:nvGrpSpPr>
          <p:cNvPr id="4" name="Group 3">
            <a:extLst>
              <a:ext uri="{FF2B5EF4-FFF2-40B4-BE49-F238E27FC236}">
                <a16:creationId xmlns:a16="http://schemas.microsoft.com/office/drawing/2014/main" id="{FC15542A-69FF-3371-95EA-86303AF6C36F}"/>
              </a:ext>
            </a:extLst>
          </p:cNvPr>
          <p:cNvGrpSpPr/>
          <p:nvPr/>
        </p:nvGrpSpPr>
        <p:grpSpPr>
          <a:xfrm>
            <a:off x="10887146" y="351328"/>
            <a:ext cx="901130" cy="901727"/>
            <a:chOff x="5614841" y="786428"/>
            <a:chExt cx="901130" cy="901727"/>
          </a:xfrm>
          <a:solidFill>
            <a:srgbClr val="0F486D"/>
          </a:solidFill>
        </p:grpSpPr>
        <p:grpSp>
          <p:nvGrpSpPr>
            <p:cNvPr id="5" name="Graphic 2">
              <a:extLst>
                <a:ext uri="{FF2B5EF4-FFF2-40B4-BE49-F238E27FC236}">
                  <a16:creationId xmlns:a16="http://schemas.microsoft.com/office/drawing/2014/main" id="{AE26D733-95A7-1488-CCA2-BDF7D084AADE}"/>
                </a:ext>
              </a:extLst>
            </p:cNvPr>
            <p:cNvGrpSpPr/>
            <p:nvPr/>
          </p:nvGrpSpPr>
          <p:grpSpPr>
            <a:xfrm>
              <a:off x="5715019" y="1058540"/>
              <a:ext cx="543506" cy="445337"/>
              <a:chOff x="5715019" y="1058540"/>
              <a:chExt cx="543506" cy="445337"/>
            </a:xfrm>
            <a:grpFill/>
          </p:grpSpPr>
          <p:sp>
            <p:nvSpPr>
              <p:cNvPr id="7" name="Freeform 210">
                <a:extLst>
                  <a:ext uri="{FF2B5EF4-FFF2-40B4-BE49-F238E27FC236}">
                    <a16:creationId xmlns:a16="http://schemas.microsoft.com/office/drawing/2014/main" id="{9639035D-32D6-4F60-4504-4EABA66C619E}"/>
                  </a:ext>
                </a:extLst>
              </p:cNvPr>
              <p:cNvSpPr/>
              <p:nvPr/>
            </p:nvSpPr>
            <p:spPr>
              <a:xfrm>
                <a:off x="5715019" y="1219331"/>
                <a:ext cx="104422" cy="284546"/>
              </a:xfrm>
              <a:custGeom>
                <a:avLst/>
                <a:gdLst>
                  <a:gd name="connsiteX0" fmla="*/ 22290 w 104422"/>
                  <a:gd name="connsiteY0" fmla="*/ 21680 h 284546"/>
                  <a:gd name="connsiteX1" fmla="*/ 51196 w 104422"/>
                  <a:gd name="connsiteY1" fmla="*/ 65942 h 284546"/>
                  <a:gd name="connsiteX2" fmla="*/ 77393 w 104422"/>
                  <a:gd name="connsiteY2" fmla="*/ 77685 h 284546"/>
                  <a:gd name="connsiteX3" fmla="*/ 103589 w 104422"/>
                  <a:gd name="connsiteY3" fmla="*/ 99365 h 284546"/>
                  <a:gd name="connsiteX4" fmla="*/ 86426 w 104422"/>
                  <a:gd name="connsiteY4" fmla="*/ 140918 h 284546"/>
                  <a:gd name="connsiteX5" fmla="*/ 71973 w 104422"/>
                  <a:gd name="connsiteY5" fmla="*/ 214087 h 284546"/>
                  <a:gd name="connsiteX6" fmla="*/ 91846 w 104422"/>
                  <a:gd name="connsiteY6" fmla="*/ 284546 h 284546"/>
                  <a:gd name="connsiteX7" fmla="*/ 10547 w 104422"/>
                  <a:gd name="connsiteY7" fmla="*/ 0 h 284546"/>
                  <a:gd name="connsiteX8" fmla="*/ 22290 w 104422"/>
                  <a:gd name="connsiteY8" fmla="*/ 21680 h 28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22" h="284546">
                    <a:moveTo>
                      <a:pt x="22290" y="21680"/>
                    </a:moveTo>
                    <a:cubicBezTo>
                      <a:pt x="32227" y="40649"/>
                      <a:pt x="41260" y="57813"/>
                      <a:pt x="51196" y="65942"/>
                    </a:cubicBezTo>
                    <a:cubicBezTo>
                      <a:pt x="58423" y="71363"/>
                      <a:pt x="67456" y="74976"/>
                      <a:pt x="77393" y="77685"/>
                    </a:cubicBezTo>
                    <a:cubicBezTo>
                      <a:pt x="103589" y="85816"/>
                      <a:pt x="106299" y="89429"/>
                      <a:pt x="103589" y="99365"/>
                    </a:cubicBezTo>
                    <a:cubicBezTo>
                      <a:pt x="100879" y="112012"/>
                      <a:pt x="93652" y="126465"/>
                      <a:pt x="86426" y="140918"/>
                    </a:cubicBezTo>
                    <a:cubicBezTo>
                      <a:pt x="72876" y="168921"/>
                      <a:pt x="60229" y="195117"/>
                      <a:pt x="71973" y="214087"/>
                    </a:cubicBezTo>
                    <a:cubicBezTo>
                      <a:pt x="89136" y="241187"/>
                      <a:pt x="91846" y="267383"/>
                      <a:pt x="91846" y="284546"/>
                    </a:cubicBezTo>
                    <a:cubicBezTo>
                      <a:pt x="13257" y="214087"/>
                      <a:pt x="-18359" y="102075"/>
                      <a:pt x="10547" y="0"/>
                    </a:cubicBezTo>
                    <a:cubicBezTo>
                      <a:pt x="15063" y="7226"/>
                      <a:pt x="18677" y="14453"/>
                      <a:pt x="22290" y="21680"/>
                    </a:cubicBezTo>
                    <a:close/>
                  </a:path>
                </a:pathLst>
              </a:custGeom>
              <a:solidFill>
                <a:srgbClr val="60BA47"/>
              </a:solidFill>
              <a:ln w="9028" cap="flat">
                <a:noFill/>
                <a:prstDash val="solid"/>
                <a:miter/>
              </a:ln>
            </p:spPr>
            <p:txBody>
              <a:bodyPr rtlCol="0" anchor="ctr"/>
              <a:lstStyle/>
              <a:p>
                <a:endParaRPr lang="en-US"/>
              </a:p>
            </p:txBody>
          </p:sp>
          <p:sp>
            <p:nvSpPr>
              <p:cNvPr id="8" name="Freeform 211">
                <a:extLst>
                  <a:ext uri="{FF2B5EF4-FFF2-40B4-BE49-F238E27FC236}">
                    <a16:creationId xmlns:a16="http://schemas.microsoft.com/office/drawing/2014/main" id="{D2069294-4A9E-A845-2FE8-699D4F19ADC9}"/>
                  </a:ext>
                </a:extLst>
              </p:cNvPr>
              <p:cNvSpPr/>
              <p:nvPr/>
            </p:nvSpPr>
            <p:spPr>
              <a:xfrm>
                <a:off x="5906636" y="1058540"/>
                <a:ext cx="351889" cy="398614"/>
              </a:xfrm>
              <a:custGeom>
                <a:avLst/>
                <a:gdLst>
                  <a:gd name="connsiteX0" fmla="*/ 351889 w 351889"/>
                  <a:gd name="connsiteY0" fmla="*/ 151758 h 398614"/>
                  <a:gd name="connsiteX1" fmla="*/ 269687 w 351889"/>
                  <a:gd name="connsiteY1" fmla="*/ 221314 h 398614"/>
                  <a:gd name="connsiteX2" fmla="*/ 267880 w 351889"/>
                  <a:gd name="connsiteY2" fmla="*/ 314356 h 398614"/>
                  <a:gd name="connsiteX3" fmla="*/ 208261 w 351889"/>
                  <a:gd name="connsiteY3" fmla="*/ 394752 h 398614"/>
                  <a:gd name="connsiteX4" fmla="*/ 180258 w 351889"/>
                  <a:gd name="connsiteY4" fmla="*/ 392945 h 398614"/>
                  <a:gd name="connsiteX5" fmla="*/ 170322 w 351889"/>
                  <a:gd name="connsiteY5" fmla="*/ 304419 h 398614"/>
                  <a:gd name="connsiteX6" fmla="*/ 152255 w 351889"/>
                  <a:gd name="connsiteY6" fmla="*/ 202344 h 398614"/>
                  <a:gd name="connsiteX7" fmla="*/ 126962 w 351889"/>
                  <a:gd name="connsiteY7" fmla="*/ 195117 h 398614"/>
                  <a:gd name="connsiteX8" fmla="*/ 101669 w 351889"/>
                  <a:gd name="connsiteY8" fmla="*/ 198731 h 398614"/>
                  <a:gd name="connsiteX9" fmla="*/ 6820 w 351889"/>
                  <a:gd name="connsiteY9" fmla="*/ 177051 h 398614"/>
                  <a:gd name="connsiteX10" fmla="*/ 56503 w 351889"/>
                  <a:gd name="connsiteY10" fmla="*/ 71362 h 398614"/>
                  <a:gd name="connsiteX11" fmla="*/ 70053 w 351889"/>
                  <a:gd name="connsiteY11" fmla="*/ 61426 h 398614"/>
                  <a:gd name="connsiteX12" fmla="*/ 228134 w 351889"/>
                  <a:gd name="connsiteY12" fmla="*/ 0 h 398614"/>
                  <a:gd name="connsiteX13" fmla="*/ 351889 w 351889"/>
                  <a:gd name="connsiteY13" fmla="*/ 151758 h 39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889" h="398614">
                    <a:moveTo>
                      <a:pt x="351889" y="151758"/>
                    </a:moveTo>
                    <a:cubicBezTo>
                      <a:pt x="304013" y="177051"/>
                      <a:pt x="281430" y="196924"/>
                      <a:pt x="269687" y="221314"/>
                    </a:cubicBezTo>
                    <a:cubicBezTo>
                      <a:pt x="257944" y="247510"/>
                      <a:pt x="262460" y="275513"/>
                      <a:pt x="267880" y="314356"/>
                    </a:cubicBezTo>
                    <a:cubicBezTo>
                      <a:pt x="271494" y="336939"/>
                      <a:pt x="244394" y="379395"/>
                      <a:pt x="208261" y="394752"/>
                    </a:cubicBezTo>
                    <a:cubicBezTo>
                      <a:pt x="194711" y="400171"/>
                      <a:pt x="185678" y="400171"/>
                      <a:pt x="180258" y="392945"/>
                    </a:cubicBezTo>
                    <a:cubicBezTo>
                      <a:pt x="169418" y="379395"/>
                      <a:pt x="170322" y="337842"/>
                      <a:pt x="170322" y="304419"/>
                    </a:cubicBezTo>
                    <a:cubicBezTo>
                      <a:pt x="170322" y="258350"/>
                      <a:pt x="171225" y="218604"/>
                      <a:pt x="152255" y="202344"/>
                    </a:cubicBezTo>
                    <a:cubicBezTo>
                      <a:pt x="145028" y="196021"/>
                      <a:pt x="136899" y="193310"/>
                      <a:pt x="126962" y="195117"/>
                    </a:cubicBezTo>
                    <a:cubicBezTo>
                      <a:pt x="118832" y="196021"/>
                      <a:pt x="109799" y="197827"/>
                      <a:pt x="101669" y="198731"/>
                    </a:cubicBezTo>
                    <a:cubicBezTo>
                      <a:pt x="52890" y="206860"/>
                      <a:pt x="22177" y="209571"/>
                      <a:pt x="6820" y="177051"/>
                    </a:cubicBezTo>
                    <a:cubicBezTo>
                      <a:pt x="-18473" y="124658"/>
                      <a:pt x="33017" y="85816"/>
                      <a:pt x="56503" y="71362"/>
                    </a:cubicBezTo>
                    <a:cubicBezTo>
                      <a:pt x="61020" y="68652"/>
                      <a:pt x="65536" y="65039"/>
                      <a:pt x="70053" y="61426"/>
                    </a:cubicBezTo>
                    <a:cubicBezTo>
                      <a:pt x="126962" y="54199"/>
                      <a:pt x="180258" y="30713"/>
                      <a:pt x="228134" y="0"/>
                    </a:cubicBezTo>
                    <a:cubicBezTo>
                      <a:pt x="286850" y="33423"/>
                      <a:pt x="331113" y="87622"/>
                      <a:pt x="351889" y="151758"/>
                    </a:cubicBezTo>
                    <a:close/>
                  </a:path>
                </a:pathLst>
              </a:custGeom>
              <a:solidFill>
                <a:srgbClr val="60BA47"/>
              </a:solidFill>
              <a:ln w="9028" cap="flat">
                <a:noFill/>
                <a:prstDash val="solid"/>
                <a:miter/>
              </a:ln>
            </p:spPr>
            <p:txBody>
              <a:bodyPr rtlCol="0" anchor="ctr"/>
              <a:lstStyle/>
              <a:p>
                <a:endParaRPr lang="en-US"/>
              </a:p>
            </p:txBody>
          </p:sp>
        </p:grpSp>
        <p:sp>
          <p:nvSpPr>
            <p:cNvPr id="6" name="Freeform 209">
              <a:extLst>
                <a:ext uri="{FF2B5EF4-FFF2-40B4-BE49-F238E27FC236}">
                  <a16:creationId xmlns:a16="http://schemas.microsoft.com/office/drawing/2014/main" id="{1A46FFEA-19DB-E8C3-321A-16AC4273F268}"/>
                </a:ext>
              </a:extLst>
            </p:cNvPr>
            <p:cNvSpPr/>
            <p:nvPr/>
          </p:nvSpPr>
          <p:spPr>
            <a:xfrm>
              <a:off x="5614841" y="786428"/>
              <a:ext cx="901130" cy="901727"/>
            </a:xfrm>
            <a:custGeom>
              <a:avLst/>
              <a:gdLst>
                <a:gd name="connsiteX0" fmla="*/ 887581 w 901130"/>
                <a:gd name="connsiteY0" fmla="*/ 104998 h 901727"/>
                <a:gd name="connsiteX1" fmla="*/ 855965 w 901130"/>
                <a:gd name="connsiteY1" fmla="*/ 33635 h 901727"/>
                <a:gd name="connsiteX2" fmla="*/ 841512 w 901130"/>
                <a:gd name="connsiteY2" fmla="*/ 27312 h 901727"/>
                <a:gd name="connsiteX3" fmla="*/ 768343 w 901130"/>
                <a:gd name="connsiteY3" fmla="*/ 54412 h 901727"/>
                <a:gd name="connsiteX4" fmla="*/ 663558 w 901130"/>
                <a:gd name="connsiteY4" fmla="*/ 154681 h 901727"/>
                <a:gd name="connsiteX5" fmla="*/ 657234 w 901130"/>
                <a:gd name="connsiteY5" fmla="*/ 272112 h 901727"/>
                <a:gd name="connsiteX6" fmla="*/ 586775 w 901130"/>
                <a:gd name="connsiteY6" fmla="*/ 210687 h 901727"/>
                <a:gd name="connsiteX7" fmla="*/ 525350 w 901130"/>
                <a:gd name="connsiteY7" fmla="*/ 116741 h 901727"/>
                <a:gd name="connsiteX8" fmla="*/ 504573 w 901130"/>
                <a:gd name="connsiteY8" fmla="*/ 133001 h 901727"/>
                <a:gd name="connsiteX9" fmla="*/ 553352 w 901130"/>
                <a:gd name="connsiteY9" fmla="*/ 204363 h 901727"/>
                <a:gd name="connsiteX10" fmla="*/ 433211 w 901130"/>
                <a:gd name="connsiteY10" fmla="*/ 180877 h 901727"/>
                <a:gd name="connsiteX11" fmla="*/ 319392 w 901130"/>
                <a:gd name="connsiteY11" fmla="*/ 25505 h 901727"/>
                <a:gd name="connsiteX12" fmla="*/ 352815 w 901130"/>
                <a:gd name="connsiteY12" fmla="*/ 29119 h 901727"/>
                <a:gd name="connsiteX13" fmla="*/ 455794 w 901130"/>
                <a:gd name="connsiteY13" fmla="*/ 82415 h 901727"/>
                <a:gd name="connsiteX14" fmla="*/ 472957 w 901130"/>
                <a:gd name="connsiteY14" fmla="*/ 62542 h 901727"/>
                <a:gd name="connsiteX15" fmla="*/ 358235 w 901130"/>
                <a:gd name="connsiteY15" fmla="*/ 3826 h 901727"/>
                <a:gd name="connsiteX16" fmla="*/ 154084 w 901130"/>
                <a:gd name="connsiteY16" fmla="*/ 48992 h 901727"/>
                <a:gd name="connsiteX17" fmla="*/ 61945 w 901130"/>
                <a:gd name="connsiteY17" fmla="*/ 114934 h 901727"/>
                <a:gd name="connsiteX18" fmla="*/ 60139 w 901130"/>
                <a:gd name="connsiteY18" fmla="*/ 133001 h 901727"/>
                <a:gd name="connsiteX19" fmla="*/ 119758 w 901130"/>
                <a:gd name="connsiteY19" fmla="*/ 226043 h 901727"/>
                <a:gd name="connsiteX20" fmla="*/ 182087 w 901130"/>
                <a:gd name="connsiteY20" fmla="*/ 290179 h 901727"/>
                <a:gd name="connsiteX21" fmla="*/ 164021 w 901130"/>
                <a:gd name="connsiteY21" fmla="*/ 306438 h 901727"/>
                <a:gd name="connsiteX22" fmla="*/ 93562 w 901130"/>
                <a:gd name="connsiteY22" fmla="*/ 411224 h 901727"/>
                <a:gd name="connsiteX23" fmla="*/ 71882 w 901130"/>
                <a:gd name="connsiteY23" fmla="*/ 521429 h 901727"/>
                <a:gd name="connsiteX24" fmla="*/ 124275 w 901130"/>
                <a:gd name="connsiteY24" fmla="*/ 695770 h 901727"/>
                <a:gd name="connsiteX25" fmla="*/ 262483 w 901130"/>
                <a:gd name="connsiteY25" fmla="*/ 807782 h 901727"/>
                <a:gd name="connsiteX26" fmla="*/ 272419 w 901130"/>
                <a:gd name="connsiteY26" fmla="*/ 783392 h 901727"/>
                <a:gd name="connsiteX27" fmla="*/ 215510 w 901130"/>
                <a:gd name="connsiteY27" fmla="*/ 751776 h 901727"/>
                <a:gd name="connsiteX28" fmla="*/ 192927 w 901130"/>
                <a:gd name="connsiteY28" fmla="*/ 647894 h 901727"/>
                <a:gd name="connsiteX29" fmla="*/ 208284 w 901130"/>
                <a:gd name="connsiteY29" fmla="*/ 600921 h 901727"/>
                <a:gd name="connsiteX30" fmla="*/ 227253 w 901130"/>
                <a:gd name="connsiteY30" fmla="*/ 553949 h 901727"/>
                <a:gd name="connsiteX31" fmla="*/ 214607 w 901130"/>
                <a:gd name="connsiteY31" fmla="*/ 514202 h 901727"/>
                <a:gd name="connsiteX32" fmla="*/ 182990 w 901130"/>
                <a:gd name="connsiteY32" fmla="*/ 500653 h 901727"/>
                <a:gd name="connsiteX33" fmla="*/ 165827 w 901130"/>
                <a:gd name="connsiteY33" fmla="*/ 494329 h 901727"/>
                <a:gd name="connsiteX34" fmla="*/ 143244 w 901130"/>
                <a:gd name="connsiteY34" fmla="*/ 458196 h 901727"/>
                <a:gd name="connsiteX35" fmla="*/ 118855 w 901130"/>
                <a:gd name="connsiteY35" fmla="*/ 418451 h 901727"/>
                <a:gd name="connsiteX36" fmla="*/ 201960 w 901130"/>
                <a:gd name="connsiteY36" fmla="*/ 308245 h 901727"/>
                <a:gd name="connsiteX37" fmla="*/ 313069 w 901130"/>
                <a:gd name="connsiteY37" fmla="*/ 349798 h 901727"/>
                <a:gd name="connsiteX38" fmla="*/ 273323 w 901130"/>
                <a:gd name="connsiteY38" fmla="*/ 476263 h 901727"/>
                <a:gd name="connsiteX39" fmla="*/ 396174 w 901130"/>
                <a:gd name="connsiteY39" fmla="*/ 512396 h 901727"/>
                <a:gd name="connsiteX40" fmla="*/ 420564 w 901130"/>
                <a:gd name="connsiteY40" fmla="*/ 508783 h 901727"/>
                <a:gd name="connsiteX41" fmla="*/ 425081 w 901130"/>
                <a:gd name="connsiteY41" fmla="*/ 509686 h 901727"/>
                <a:gd name="connsiteX42" fmla="*/ 435017 w 901130"/>
                <a:gd name="connsiteY42" fmla="*/ 591888 h 901727"/>
                <a:gd name="connsiteX43" fmla="*/ 450374 w 901130"/>
                <a:gd name="connsiteY43" fmla="*/ 696673 h 901727"/>
                <a:gd name="connsiteX44" fmla="*/ 483797 w 901130"/>
                <a:gd name="connsiteY44" fmla="*/ 712933 h 901727"/>
                <a:gd name="connsiteX45" fmla="*/ 509993 w 901130"/>
                <a:gd name="connsiteY45" fmla="*/ 706610 h 901727"/>
                <a:gd name="connsiteX46" fmla="*/ 584968 w 901130"/>
                <a:gd name="connsiteY46" fmla="*/ 597308 h 901727"/>
                <a:gd name="connsiteX47" fmla="*/ 584065 w 901130"/>
                <a:gd name="connsiteY47" fmla="*/ 519622 h 901727"/>
                <a:gd name="connsiteX48" fmla="*/ 649104 w 901130"/>
                <a:gd name="connsiteY48" fmla="*/ 465423 h 901727"/>
                <a:gd name="connsiteX49" fmla="*/ 655428 w 901130"/>
                <a:gd name="connsiteY49" fmla="*/ 528655 h 901727"/>
                <a:gd name="connsiteX50" fmla="*/ 571419 w 901130"/>
                <a:gd name="connsiteY50" fmla="*/ 724676 h 901727"/>
                <a:gd name="connsiteX51" fmla="*/ 345588 w 901130"/>
                <a:gd name="connsiteY51" fmla="*/ 802362 h 901727"/>
                <a:gd name="connsiteX52" fmla="*/ 342878 w 901130"/>
                <a:gd name="connsiteY52" fmla="*/ 828558 h 901727"/>
                <a:gd name="connsiteX53" fmla="*/ 589485 w 901130"/>
                <a:gd name="connsiteY53" fmla="*/ 743646 h 901727"/>
                <a:gd name="connsiteX54" fmla="*/ 681624 w 901130"/>
                <a:gd name="connsiteY54" fmla="*/ 528655 h 901727"/>
                <a:gd name="connsiteX55" fmla="*/ 543416 w 901130"/>
                <a:gd name="connsiteY55" fmla="*/ 269402 h 901727"/>
                <a:gd name="connsiteX56" fmla="*/ 581355 w 901130"/>
                <a:gd name="connsiteY56" fmla="*/ 239592 h 901727"/>
                <a:gd name="connsiteX57" fmla="*/ 661751 w 901130"/>
                <a:gd name="connsiteY57" fmla="*/ 320891 h 901727"/>
                <a:gd name="connsiteX58" fmla="*/ 722273 w 901130"/>
                <a:gd name="connsiteY58" fmla="*/ 581951 h 901727"/>
                <a:gd name="connsiteX59" fmla="*/ 319392 w 901130"/>
                <a:gd name="connsiteY59" fmla="*/ 870111 h 901727"/>
                <a:gd name="connsiteX60" fmla="*/ 91755 w 901130"/>
                <a:gd name="connsiteY60" fmla="*/ 728290 h 901727"/>
                <a:gd name="connsiteX61" fmla="*/ 31233 w 901130"/>
                <a:gd name="connsiteY61" fmla="*/ 467230 h 901727"/>
                <a:gd name="connsiteX62" fmla="*/ 5036 w 901130"/>
                <a:gd name="connsiteY62" fmla="*/ 462713 h 901727"/>
                <a:gd name="connsiteX63" fmla="*/ 70075 w 901130"/>
                <a:gd name="connsiteY63" fmla="*/ 743646 h 901727"/>
                <a:gd name="connsiteX64" fmla="*/ 314875 w 901130"/>
                <a:gd name="connsiteY64" fmla="*/ 896307 h 901727"/>
                <a:gd name="connsiteX65" fmla="*/ 377205 w 901130"/>
                <a:gd name="connsiteY65" fmla="*/ 901728 h 901727"/>
                <a:gd name="connsiteX66" fmla="*/ 595808 w 901130"/>
                <a:gd name="connsiteY66" fmla="*/ 831268 h 901727"/>
                <a:gd name="connsiteX67" fmla="*/ 748470 w 901130"/>
                <a:gd name="connsiteY67" fmla="*/ 586468 h 901727"/>
                <a:gd name="connsiteX68" fmla="*/ 722273 w 901130"/>
                <a:gd name="connsiteY68" fmla="*/ 375091 h 901727"/>
                <a:gd name="connsiteX69" fmla="*/ 782796 w 901130"/>
                <a:gd name="connsiteY69" fmla="*/ 350701 h 901727"/>
                <a:gd name="connsiteX70" fmla="*/ 887581 w 901130"/>
                <a:gd name="connsiteY70" fmla="*/ 250432 h 901727"/>
                <a:gd name="connsiteX71" fmla="*/ 887581 w 901130"/>
                <a:gd name="connsiteY71" fmla="*/ 104998 h 901727"/>
                <a:gd name="connsiteX72" fmla="*/ 121565 w 901130"/>
                <a:gd name="connsiteY72" fmla="*/ 467230 h 901727"/>
                <a:gd name="connsiteX73" fmla="*/ 150471 w 901130"/>
                <a:gd name="connsiteY73" fmla="*/ 511493 h 901727"/>
                <a:gd name="connsiteX74" fmla="*/ 176667 w 901130"/>
                <a:gd name="connsiteY74" fmla="*/ 523236 h 901727"/>
                <a:gd name="connsiteX75" fmla="*/ 202864 w 901130"/>
                <a:gd name="connsiteY75" fmla="*/ 544916 h 901727"/>
                <a:gd name="connsiteX76" fmla="*/ 185701 w 901130"/>
                <a:gd name="connsiteY76" fmla="*/ 586468 h 901727"/>
                <a:gd name="connsiteX77" fmla="*/ 171247 w 901130"/>
                <a:gd name="connsiteY77" fmla="*/ 659637 h 901727"/>
                <a:gd name="connsiteX78" fmla="*/ 191121 w 901130"/>
                <a:gd name="connsiteY78" fmla="*/ 730096 h 901727"/>
                <a:gd name="connsiteX79" fmla="*/ 109822 w 901130"/>
                <a:gd name="connsiteY79" fmla="*/ 445550 h 901727"/>
                <a:gd name="connsiteX80" fmla="*/ 121565 w 901130"/>
                <a:gd name="connsiteY80" fmla="*/ 467230 h 901727"/>
                <a:gd name="connsiteX81" fmla="*/ 760213 w 901130"/>
                <a:gd name="connsiteY81" fmla="*/ 207976 h 901727"/>
                <a:gd name="connsiteX82" fmla="*/ 722273 w 901130"/>
                <a:gd name="connsiteY82" fmla="*/ 116741 h 901727"/>
                <a:gd name="connsiteX83" fmla="*/ 780086 w 901130"/>
                <a:gd name="connsiteY83" fmla="*/ 77898 h 901727"/>
                <a:gd name="connsiteX84" fmla="*/ 821639 w 901130"/>
                <a:gd name="connsiteY84" fmla="*/ 60735 h 901727"/>
                <a:gd name="connsiteX85" fmla="*/ 760213 w 901130"/>
                <a:gd name="connsiteY85" fmla="*/ 207976 h 901727"/>
                <a:gd name="connsiteX86" fmla="*/ 846932 w 901130"/>
                <a:gd name="connsiteY86" fmla="*/ 70671 h 901727"/>
                <a:gd name="connsiteX87" fmla="*/ 863192 w 901130"/>
                <a:gd name="connsiteY87" fmla="*/ 113127 h 901727"/>
                <a:gd name="connsiteX88" fmla="*/ 874935 w 901130"/>
                <a:gd name="connsiteY88" fmla="*/ 176360 h 901727"/>
                <a:gd name="connsiteX89" fmla="*/ 787313 w 901130"/>
                <a:gd name="connsiteY89" fmla="*/ 212493 h 901727"/>
                <a:gd name="connsiteX90" fmla="*/ 846932 w 901130"/>
                <a:gd name="connsiteY90" fmla="*/ 70671 h 901727"/>
                <a:gd name="connsiteX91" fmla="*/ 688850 w 901130"/>
                <a:gd name="connsiteY91" fmla="*/ 164617 h 901727"/>
                <a:gd name="connsiteX92" fmla="*/ 703304 w 901130"/>
                <a:gd name="connsiteY92" fmla="*/ 139324 h 901727"/>
                <a:gd name="connsiteX93" fmla="*/ 745760 w 901130"/>
                <a:gd name="connsiteY93" fmla="*/ 243206 h 901727"/>
                <a:gd name="connsiteX94" fmla="*/ 707820 w 901130"/>
                <a:gd name="connsiteY94" fmla="*/ 334441 h 901727"/>
                <a:gd name="connsiteX95" fmla="*/ 690657 w 901130"/>
                <a:gd name="connsiteY95" fmla="*/ 291082 h 901727"/>
                <a:gd name="connsiteX96" fmla="*/ 688850 w 901130"/>
                <a:gd name="connsiteY96" fmla="*/ 164617 h 901727"/>
                <a:gd name="connsiteX97" fmla="*/ 772860 w 901130"/>
                <a:gd name="connsiteY97" fmla="*/ 325408 h 901727"/>
                <a:gd name="connsiteX98" fmla="*/ 732210 w 901130"/>
                <a:gd name="connsiteY98" fmla="*/ 342571 h 901727"/>
                <a:gd name="connsiteX99" fmla="*/ 771956 w 901130"/>
                <a:gd name="connsiteY99" fmla="*/ 247723 h 901727"/>
                <a:gd name="connsiteX100" fmla="*/ 873128 w 901130"/>
                <a:gd name="connsiteY100" fmla="*/ 206170 h 901727"/>
                <a:gd name="connsiteX101" fmla="*/ 864095 w 901130"/>
                <a:gd name="connsiteY101" fmla="*/ 239592 h 901727"/>
                <a:gd name="connsiteX102" fmla="*/ 772860 w 901130"/>
                <a:gd name="connsiteY102" fmla="*/ 325408 h 901727"/>
                <a:gd name="connsiteX103" fmla="*/ 297712 w 901130"/>
                <a:gd name="connsiteY103" fmla="*/ 318182 h 901727"/>
                <a:gd name="connsiteX104" fmla="*/ 284163 w 901130"/>
                <a:gd name="connsiteY104" fmla="*/ 314569 h 901727"/>
                <a:gd name="connsiteX105" fmla="*/ 430501 w 901130"/>
                <a:gd name="connsiteY105" fmla="*/ 207073 h 901727"/>
                <a:gd name="connsiteX106" fmla="*/ 550642 w 901130"/>
                <a:gd name="connsiteY106" fmla="*/ 230559 h 901727"/>
                <a:gd name="connsiteX107" fmla="*/ 297712 w 901130"/>
                <a:gd name="connsiteY107" fmla="*/ 318182 h 901727"/>
                <a:gd name="connsiteX108" fmla="*/ 164021 w 901130"/>
                <a:gd name="connsiteY108" fmla="*/ 235979 h 901727"/>
                <a:gd name="connsiteX109" fmla="*/ 97175 w 901130"/>
                <a:gd name="connsiteY109" fmla="*/ 142937 h 901727"/>
                <a:gd name="connsiteX110" fmla="*/ 249836 w 901130"/>
                <a:gd name="connsiteY110" fmla="*/ 172747 h 901727"/>
                <a:gd name="connsiteX111" fmla="*/ 164021 w 901130"/>
                <a:gd name="connsiteY111" fmla="*/ 235979 h 901727"/>
                <a:gd name="connsiteX112" fmla="*/ 191121 w 901130"/>
                <a:gd name="connsiteY112" fmla="*/ 59832 h 901727"/>
                <a:gd name="connsiteX113" fmla="*/ 255256 w 901130"/>
                <a:gd name="connsiteY113" fmla="*/ 147454 h 901727"/>
                <a:gd name="connsiteX114" fmla="*/ 100788 w 901130"/>
                <a:gd name="connsiteY114" fmla="*/ 117644 h 901727"/>
                <a:gd name="connsiteX115" fmla="*/ 191121 w 901130"/>
                <a:gd name="connsiteY115" fmla="*/ 59832 h 901727"/>
                <a:gd name="connsiteX116" fmla="*/ 293196 w 901130"/>
                <a:gd name="connsiteY116" fmla="*/ 154681 h 901727"/>
                <a:gd name="connsiteX117" fmla="*/ 215510 w 901130"/>
                <a:gd name="connsiteY117" fmla="*/ 48992 h 901727"/>
                <a:gd name="connsiteX118" fmla="*/ 289583 w 901130"/>
                <a:gd name="connsiteY118" fmla="*/ 28216 h 901727"/>
                <a:gd name="connsiteX119" fmla="*/ 397078 w 901130"/>
                <a:gd name="connsiteY119" fmla="*/ 174554 h 901727"/>
                <a:gd name="connsiteX120" fmla="*/ 293196 w 901130"/>
                <a:gd name="connsiteY120" fmla="*/ 154681 h 901727"/>
                <a:gd name="connsiteX121" fmla="*/ 285066 w 901130"/>
                <a:gd name="connsiteY121" fmla="*/ 179973 h 901727"/>
                <a:gd name="connsiteX122" fmla="*/ 394368 w 901130"/>
                <a:gd name="connsiteY122" fmla="*/ 201653 h 901727"/>
                <a:gd name="connsiteX123" fmla="*/ 253450 w 901130"/>
                <a:gd name="connsiteY123" fmla="*/ 304632 h 901727"/>
                <a:gd name="connsiteX124" fmla="*/ 182087 w 901130"/>
                <a:gd name="connsiteY124" fmla="*/ 254949 h 901727"/>
                <a:gd name="connsiteX125" fmla="*/ 285066 w 901130"/>
                <a:gd name="connsiteY125" fmla="*/ 179973 h 901727"/>
                <a:gd name="connsiteX126" fmla="*/ 642781 w 901130"/>
                <a:gd name="connsiteY126" fmla="*/ 437420 h 901727"/>
                <a:gd name="connsiteX127" fmla="*/ 560579 w 901130"/>
                <a:gd name="connsiteY127" fmla="*/ 506976 h 901727"/>
                <a:gd name="connsiteX128" fmla="*/ 558772 w 901130"/>
                <a:gd name="connsiteY128" fmla="*/ 600018 h 901727"/>
                <a:gd name="connsiteX129" fmla="*/ 499153 w 901130"/>
                <a:gd name="connsiteY129" fmla="*/ 680414 h 901727"/>
                <a:gd name="connsiteX130" fmla="*/ 471150 w 901130"/>
                <a:gd name="connsiteY130" fmla="*/ 678607 h 901727"/>
                <a:gd name="connsiteX131" fmla="*/ 461214 w 901130"/>
                <a:gd name="connsiteY131" fmla="*/ 590082 h 901727"/>
                <a:gd name="connsiteX132" fmla="*/ 443147 w 901130"/>
                <a:gd name="connsiteY132" fmla="*/ 488006 h 901727"/>
                <a:gd name="connsiteX133" fmla="*/ 417854 w 901130"/>
                <a:gd name="connsiteY133" fmla="*/ 480779 h 901727"/>
                <a:gd name="connsiteX134" fmla="*/ 392561 w 901130"/>
                <a:gd name="connsiteY134" fmla="*/ 484393 h 901727"/>
                <a:gd name="connsiteX135" fmla="*/ 297712 w 901130"/>
                <a:gd name="connsiteY135" fmla="*/ 462713 h 901727"/>
                <a:gd name="connsiteX136" fmla="*/ 347395 w 901130"/>
                <a:gd name="connsiteY136" fmla="*/ 357024 h 901727"/>
                <a:gd name="connsiteX137" fmla="*/ 360945 w 901130"/>
                <a:gd name="connsiteY137" fmla="*/ 347088 h 901727"/>
                <a:gd name="connsiteX138" fmla="*/ 519026 w 901130"/>
                <a:gd name="connsiteY138" fmla="*/ 285662 h 901727"/>
                <a:gd name="connsiteX139" fmla="*/ 642781 w 901130"/>
                <a:gd name="connsiteY139" fmla="*/ 437420 h 9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01130" h="901727">
                  <a:moveTo>
                    <a:pt x="887581" y="104998"/>
                  </a:moveTo>
                  <a:cubicBezTo>
                    <a:pt x="874935" y="64348"/>
                    <a:pt x="856868" y="34539"/>
                    <a:pt x="855965" y="33635"/>
                  </a:cubicBezTo>
                  <a:cubicBezTo>
                    <a:pt x="853255" y="29119"/>
                    <a:pt x="846932" y="26409"/>
                    <a:pt x="841512" y="27312"/>
                  </a:cubicBezTo>
                  <a:cubicBezTo>
                    <a:pt x="839705" y="27312"/>
                    <a:pt x="807186" y="35442"/>
                    <a:pt x="768343" y="54412"/>
                  </a:cubicBezTo>
                  <a:cubicBezTo>
                    <a:pt x="716853" y="80608"/>
                    <a:pt x="679817" y="114934"/>
                    <a:pt x="663558" y="154681"/>
                  </a:cubicBezTo>
                  <a:cubicBezTo>
                    <a:pt x="650008" y="187200"/>
                    <a:pt x="647298" y="227849"/>
                    <a:pt x="657234" y="272112"/>
                  </a:cubicBezTo>
                  <a:cubicBezTo>
                    <a:pt x="636458" y="248626"/>
                    <a:pt x="612972" y="227849"/>
                    <a:pt x="586775" y="210687"/>
                  </a:cubicBezTo>
                  <a:cubicBezTo>
                    <a:pt x="578645" y="195330"/>
                    <a:pt x="557869" y="156487"/>
                    <a:pt x="525350" y="116741"/>
                  </a:cubicBezTo>
                  <a:cubicBezTo>
                    <a:pt x="514510" y="103191"/>
                    <a:pt x="493733" y="120354"/>
                    <a:pt x="504573" y="133001"/>
                  </a:cubicBezTo>
                  <a:cubicBezTo>
                    <a:pt x="526253" y="160100"/>
                    <a:pt x="542513" y="186297"/>
                    <a:pt x="553352" y="204363"/>
                  </a:cubicBezTo>
                  <a:lnTo>
                    <a:pt x="433211" y="180877"/>
                  </a:lnTo>
                  <a:lnTo>
                    <a:pt x="319392" y="25505"/>
                  </a:lnTo>
                  <a:cubicBezTo>
                    <a:pt x="330232" y="25505"/>
                    <a:pt x="341975" y="26409"/>
                    <a:pt x="352815" y="29119"/>
                  </a:cubicBezTo>
                  <a:cubicBezTo>
                    <a:pt x="388045" y="36345"/>
                    <a:pt x="422371" y="53508"/>
                    <a:pt x="455794" y="82415"/>
                  </a:cubicBezTo>
                  <a:cubicBezTo>
                    <a:pt x="468440" y="93255"/>
                    <a:pt x="485603" y="73382"/>
                    <a:pt x="472957" y="62542"/>
                  </a:cubicBezTo>
                  <a:cubicBezTo>
                    <a:pt x="435920" y="30925"/>
                    <a:pt x="397078" y="11052"/>
                    <a:pt x="358235" y="3826"/>
                  </a:cubicBezTo>
                  <a:cubicBezTo>
                    <a:pt x="297712" y="-7917"/>
                    <a:pt x="227253" y="7439"/>
                    <a:pt x="154084" y="48992"/>
                  </a:cubicBezTo>
                  <a:cubicBezTo>
                    <a:pt x="99885" y="79705"/>
                    <a:pt x="63752" y="113127"/>
                    <a:pt x="61945" y="114934"/>
                  </a:cubicBezTo>
                  <a:cubicBezTo>
                    <a:pt x="57429" y="119451"/>
                    <a:pt x="56525" y="127581"/>
                    <a:pt x="60139" y="133001"/>
                  </a:cubicBezTo>
                  <a:cubicBezTo>
                    <a:pt x="65559" y="143841"/>
                    <a:pt x="85432" y="183587"/>
                    <a:pt x="119758" y="226043"/>
                  </a:cubicBezTo>
                  <a:cubicBezTo>
                    <a:pt x="139631" y="251336"/>
                    <a:pt x="160407" y="272112"/>
                    <a:pt x="182087" y="290179"/>
                  </a:cubicBezTo>
                  <a:cubicBezTo>
                    <a:pt x="175764" y="295598"/>
                    <a:pt x="170344" y="301019"/>
                    <a:pt x="164021" y="306438"/>
                  </a:cubicBezTo>
                  <a:cubicBezTo>
                    <a:pt x="133308" y="336248"/>
                    <a:pt x="109822" y="372381"/>
                    <a:pt x="93562" y="411224"/>
                  </a:cubicBezTo>
                  <a:cubicBezTo>
                    <a:pt x="80012" y="445550"/>
                    <a:pt x="72785" y="482586"/>
                    <a:pt x="71882" y="521429"/>
                  </a:cubicBezTo>
                  <a:cubicBezTo>
                    <a:pt x="70979" y="583758"/>
                    <a:pt x="89045" y="644281"/>
                    <a:pt x="124275" y="695770"/>
                  </a:cubicBezTo>
                  <a:cubicBezTo>
                    <a:pt x="158601" y="746356"/>
                    <a:pt x="206477" y="785199"/>
                    <a:pt x="262483" y="807782"/>
                  </a:cubicBezTo>
                  <a:cubicBezTo>
                    <a:pt x="277839" y="814105"/>
                    <a:pt x="287776" y="789715"/>
                    <a:pt x="272419" y="783392"/>
                  </a:cubicBezTo>
                  <a:cubicBezTo>
                    <a:pt x="251643" y="775263"/>
                    <a:pt x="232673" y="764423"/>
                    <a:pt x="215510" y="751776"/>
                  </a:cubicBezTo>
                  <a:cubicBezTo>
                    <a:pt x="217317" y="739130"/>
                    <a:pt x="222737" y="693964"/>
                    <a:pt x="192927" y="647894"/>
                  </a:cubicBezTo>
                  <a:cubicBezTo>
                    <a:pt x="188410" y="641570"/>
                    <a:pt x="201057" y="615374"/>
                    <a:pt x="208284" y="600921"/>
                  </a:cubicBezTo>
                  <a:cubicBezTo>
                    <a:pt x="216413" y="585565"/>
                    <a:pt x="223640" y="569305"/>
                    <a:pt x="227253" y="553949"/>
                  </a:cubicBezTo>
                  <a:cubicBezTo>
                    <a:pt x="230867" y="537689"/>
                    <a:pt x="226350" y="524139"/>
                    <a:pt x="214607" y="514202"/>
                  </a:cubicBezTo>
                  <a:cubicBezTo>
                    <a:pt x="205573" y="506976"/>
                    <a:pt x="193830" y="503362"/>
                    <a:pt x="182990" y="500653"/>
                  </a:cubicBezTo>
                  <a:cubicBezTo>
                    <a:pt x="175764" y="498846"/>
                    <a:pt x="168538" y="496136"/>
                    <a:pt x="165827" y="494329"/>
                  </a:cubicBezTo>
                  <a:cubicBezTo>
                    <a:pt x="160407" y="489813"/>
                    <a:pt x="150471" y="471746"/>
                    <a:pt x="143244" y="458196"/>
                  </a:cubicBezTo>
                  <a:cubicBezTo>
                    <a:pt x="135114" y="442840"/>
                    <a:pt x="126985" y="427484"/>
                    <a:pt x="118855" y="418451"/>
                  </a:cubicBezTo>
                  <a:cubicBezTo>
                    <a:pt x="136921" y="375994"/>
                    <a:pt x="165827" y="338055"/>
                    <a:pt x="201960" y="308245"/>
                  </a:cubicBezTo>
                  <a:cubicBezTo>
                    <a:pt x="235383" y="330828"/>
                    <a:pt x="273323" y="346185"/>
                    <a:pt x="313069" y="349798"/>
                  </a:cubicBezTo>
                  <a:cubicBezTo>
                    <a:pt x="266096" y="385931"/>
                    <a:pt x="251643" y="432000"/>
                    <a:pt x="273323" y="476263"/>
                  </a:cubicBezTo>
                  <a:cubicBezTo>
                    <a:pt x="298616" y="527752"/>
                    <a:pt x="350105" y="519622"/>
                    <a:pt x="396174" y="512396"/>
                  </a:cubicBezTo>
                  <a:cubicBezTo>
                    <a:pt x="404304" y="511493"/>
                    <a:pt x="412434" y="509686"/>
                    <a:pt x="420564" y="508783"/>
                  </a:cubicBezTo>
                  <a:cubicBezTo>
                    <a:pt x="423274" y="508783"/>
                    <a:pt x="424177" y="508783"/>
                    <a:pt x="425081" y="509686"/>
                  </a:cubicBezTo>
                  <a:cubicBezTo>
                    <a:pt x="435017" y="518719"/>
                    <a:pt x="435017" y="561175"/>
                    <a:pt x="435017" y="591888"/>
                  </a:cubicBezTo>
                  <a:cubicBezTo>
                    <a:pt x="435017" y="635248"/>
                    <a:pt x="434114" y="675897"/>
                    <a:pt x="450374" y="696673"/>
                  </a:cubicBezTo>
                  <a:cubicBezTo>
                    <a:pt x="458503" y="707513"/>
                    <a:pt x="470247" y="712933"/>
                    <a:pt x="483797" y="712933"/>
                  </a:cubicBezTo>
                  <a:cubicBezTo>
                    <a:pt x="491926" y="712933"/>
                    <a:pt x="500960" y="711126"/>
                    <a:pt x="509993" y="706610"/>
                  </a:cubicBezTo>
                  <a:cubicBezTo>
                    <a:pt x="549739" y="689447"/>
                    <a:pt x="591292" y="637958"/>
                    <a:pt x="584968" y="597308"/>
                  </a:cubicBezTo>
                  <a:cubicBezTo>
                    <a:pt x="579549" y="562078"/>
                    <a:pt x="575935" y="538592"/>
                    <a:pt x="584065" y="519622"/>
                  </a:cubicBezTo>
                  <a:cubicBezTo>
                    <a:pt x="592195" y="502459"/>
                    <a:pt x="611165" y="486200"/>
                    <a:pt x="649104" y="465423"/>
                  </a:cubicBezTo>
                  <a:cubicBezTo>
                    <a:pt x="653621" y="486200"/>
                    <a:pt x="656331" y="506976"/>
                    <a:pt x="655428" y="528655"/>
                  </a:cubicBezTo>
                  <a:cubicBezTo>
                    <a:pt x="654524" y="602728"/>
                    <a:pt x="624715" y="672284"/>
                    <a:pt x="571419" y="724676"/>
                  </a:cubicBezTo>
                  <a:cubicBezTo>
                    <a:pt x="511800" y="782489"/>
                    <a:pt x="428694" y="811395"/>
                    <a:pt x="345588" y="802362"/>
                  </a:cubicBezTo>
                  <a:cubicBezTo>
                    <a:pt x="328425" y="800555"/>
                    <a:pt x="325715" y="826751"/>
                    <a:pt x="342878" y="828558"/>
                  </a:cubicBezTo>
                  <a:cubicBezTo>
                    <a:pt x="433211" y="838495"/>
                    <a:pt x="524446" y="806879"/>
                    <a:pt x="589485" y="743646"/>
                  </a:cubicBezTo>
                  <a:cubicBezTo>
                    <a:pt x="647298" y="686737"/>
                    <a:pt x="680721" y="610858"/>
                    <a:pt x="681624" y="528655"/>
                  </a:cubicBezTo>
                  <a:cubicBezTo>
                    <a:pt x="682527" y="420257"/>
                    <a:pt x="627425" y="324505"/>
                    <a:pt x="543416" y="269402"/>
                  </a:cubicBezTo>
                  <a:cubicBezTo>
                    <a:pt x="560579" y="256756"/>
                    <a:pt x="574129" y="245916"/>
                    <a:pt x="581355" y="239592"/>
                  </a:cubicBezTo>
                  <a:cubicBezTo>
                    <a:pt x="612068" y="261272"/>
                    <a:pt x="639168" y="289275"/>
                    <a:pt x="661751" y="320891"/>
                  </a:cubicBezTo>
                  <a:cubicBezTo>
                    <a:pt x="715950" y="396771"/>
                    <a:pt x="737630" y="489813"/>
                    <a:pt x="722273" y="581951"/>
                  </a:cubicBezTo>
                  <a:cubicBezTo>
                    <a:pt x="690657" y="772552"/>
                    <a:pt x="509993" y="901728"/>
                    <a:pt x="319392" y="870111"/>
                  </a:cubicBezTo>
                  <a:cubicBezTo>
                    <a:pt x="227253" y="854755"/>
                    <a:pt x="145954" y="804168"/>
                    <a:pt x="91755" y="728290"/>
                  </a:cubicBezTo>
                  <a:cubicBezTo>
                    <a:pt x="37556" y="652410"/>
                    <a:pt x="15876" y="559368"/>
                    <a:pt x="31233" y="467230"/>
                  </a:cubicBezTo>
                  <a:cubicBezTo>
                    <a:pt x="33942" y="450970"/>
                    <a:pt x="7746" y="446453"/>
                    <a:pt x="5036" y="462713"/>
                  </a:cubicBezTo>
                  <a:cubicBezTo>
                    <a:pt x="-11224" y="562078"/>
                    <a:pt x="12263" y="661444"/>
                    <a:pt x="70075" y="743646"/>
                  </a:cubicBezTo>
                  <a:cubicBezTo>
                    <a:pt x="128791" y="825848"/>
                    <a:pt x="215510" y="879144"/>
                    <a:pt x="314875" y="896307"/>
                  </a:cubicBezTo>
                  <a:cubicBezTo>
                    <a:pt x="335652" y="899921"/>
                    <a:pt x="356428" y="901728"/>
                    <a:pt x="377205" y="901728"/>
                  </a:cubicBezTo>
                  <a:cubicBezTo>
                    <a:pt x="454890" y="901728"/>
                    <a:pt x="530769" y="877338"/>
                    <a:pt x="595808" y="831268"/>
                  </a:cubicBezTo>
                  <a:cubicBezTo>
                    <a:pt x="678011" y="772552"/>
                    <a:pt x="731307" y="685833"/>
                    <a:pt x="748470" y="586468"/>
                  </a:cubicBezTo>
                  <a:cubicBezTo>
                    <a:pt x="760213" y="513299"/>
                    <a:pt x="751180" y="441034"/>
                    <a:pt x="722273" y="375091"/>
                  </a:cubicBezTo>
                  <a:cubicBezTo>
                    <a:pt x="735823" y="371478"/>
                    <a:pt x="758406" y="363348"/>
                    <a:pt x="782796" y="350701"/>
                  </a:cubicBezTo>
                  <a:cubicBezTo>
                    <a:pt x="834285" y="324505"/>
                    <a:pt x="871322" y="290179"/>
                    <a:pt x="887581" y="250432"/>
                  </a:cubicBezTo>
                  <a:cubicBezTo>
                    <a:pt x="905648" y="209783"/>
                    <a:pt x="905648" y="160100"/>
                    <a:pt x="887581" y="104998"/>
                  </a:cubicBezTo>
                  <a:close/>
                  <a:moveTo>
                    <a:pt x="121565" y="467230"/>
                  </a:moveTo>
                  <a:cubicBezTo>
                    <a:pt x="131501" y="486200"/>
                    <a:pt x="140534" y="503362"/>
                    <a:pt x="150471" y="511493"/>
                  </a:cubicBezTo>
                  <a:cubicBezTo>
                    <a:pt x="157698" y="516912"/>
                    <a:pt x="166731" y="520526"/>
                    <a:pt x="176667" y="523236"/>
                  </a:cubicBezTo>
                  <a:cubicBezTo>
                    <a:pt x="202864" y="531366"/>
                    <a:pt x="205573" y="534979"/>
                    <a:pt x="202864" y="544916"/>
                  </a:cubicBezTo>
                  <a:cubicBezTo>
                    <a:pt x="200154" y="557562"/>
                    <a:pt x="192927" y="572015"/>
                    <a:pt x="185701" y="586468"/>
                  </a:cubicBezTo>
                  <a:cubicBezTo>
                    <a:pt x="172151" y="614471"/>
                    <a:pt x="159504" y="640667"/>
                    <a:pt x="171247" y="659637"/>
                  </a:cubicBezTo>
                  <a:cubicBezTo>
                    <a:pt x="188410" y="686737"/>
                    <a:pt x="191121" y="712933"/>
                    <a:pt x="191121" y="730096"/>
                  </a:cubicBezTo>
                  <a:cubicBezTo>
                    <a:pt x="112531" y="659637"/>
                    <a:pt x="80915" y="547625"/>
                    <a:pt x="109822" y="445550"/>
                  </a:cubicBezTo>
                  <a:cubicBezTo>
                    <a:pt x="114338" y="452777"/>
                    <a:pt x="117951" y="460906"/>
                    <a:pt x="121565" y="467230"/>
                  </a:cubicBezTo>
                  <a:close/>
                  <a:moveTo>
                    <a:pt x="760213" y="207976"/>
                  </a:moveTo>
                  <a:lnTo>
                    <a:pt x="722273" y="116741"/>
                  </a:lnTo>
                  <a:cubicBezTo>
                    <a:pt x="740340" y="99578"/>
                    <a:pt x="762020" y="86931"/>
                    <a:pt x="780086" y="77898"/>
                  </a:cubicBezTo>
                  <a:cubicBezTo>
                    <a:pt x="795443" y="69768"/>
                    <a:pt x="809896" y="64348"/>
                    <a:pt x="821639" y="60735"/>
                  </a:cubicBezTo>
                  <a:lnTo>
                    <a:pt x="760213" y="207976"/>
                  </a:lnTo>
                  <a:close/>
                  <a:moveTo>
                    <a:pt x="846932" y="70671"/>
                  </a:moveTo>
                  <a:cubicBezTo>
                    <a:pt x="852352" y="81511"/>
                    <a:pt x="858675" y="96868"/>
                    <a:pt x="863192" y="113127"/>
                  </a:cubicBezTo>
                  <a:cubicBezTo>
                    <a:pt x="868612" y="131194"/>
                    <a:pt x="874031" y="153777"/>
                    <a:pt x="874935" y="176360"/>
                  </a:cubicBezTo>
                  <a:lnTo>
                    <a:pt x="787313" y="212493"/>
                  </a:lnTo>
                  <a:lnTo>
                    <a:pt x="846932" y="70671"/>
                  </a:lnTo>
                  <a:close/>
                  <a:moveTo>
                    <a:pt x="688850" y="164617"/>
                  </a:moveTo>
                  <a:cubicBezTo>
                    <a:pt x="692464" y="155584"/>
                    <a:pt x="697884" y="146550"/>
                    <a:pt x="703304" y="139324"/>
                  </a:cubicBezTo>
                  <a:lnTo>
                    <a:pt x="745760" y="243206"/>
                  </a:lnTo>
                  <a:lnTo>
                    <a:pt x="707820" y="334441"/>
                  </a:lnTo>
                  <a:cubicBezTo>
                    <a:pt x="702400" y="322698"/>
                    <a:pt x="696077" y="308245"/>
                    <a:pt x="690657" y="291082"/>
                  </a:cubicBezTo>
                  <a:cubicBezTo>
                    <a:pt x="679817" y="256756"/>
                    <a:pt x="670784" y="207073"/>
                    <a:pt x="688850" y="164617"/>
                  </a:cubicBezTo>
                  <a:close/>
                  <a:moveTo>
                    <a:pt x="772860" y="325408"/>
                  </a:moveTo>
                  <a:cubicBezTo>
                    <a:pt x="758406" y="332635"/>
                    <a:pt x="743953" y="338055"/>
                    <a:pt x="732210" y="342571"/>
                  </a:cubicBezTo>
                  <a:lnTo>
                    <a:pt x="771956" y="247723"/>
                  </a:lnTo>
                  <a:lnTo>
                    <a:pt x="873128" y="206170"/>
                  </a:lnTo>
                  <a:cubicBezTo>
                    <a:pt x="871322" y="217913"/>
                    <a:pt x="868612" y="228753"/>
                    <a:pt x="864095" y="239592"/>
                  </a:cubicBezTo>
                  <a:cubicBezTo>
                    <a:pt x="846932" y="282049"/>
                    <a:pt x="805379" y="310052"/>
                    <a:pt x="772860" y="325408"/>
                  </a:cubicBezTo>
                  <a:close/>
                  <a:moveTo>
                    <a:pt x="297712" y="318182"/>
                  </a:moveTo>
                  <a:cubicBezTo>
                    <a:pt x="293196" y="317278"/>
                    <a:pt x="288679" y="316375"/>
                    <a:pt x="284163" y="314569"/>
                  </a:cubicBezTo>
                  <a:lnTo>
                    <a:pt x="430501" y="207073"/>
                  </a:lnTo>
                  <a:lnTo>
                    <a:pt x="550642" y="230559"/>
                  </a:lnTo>
                  <a:cubicBezTo>
                    <a:pt x="506380" y="265789"/>
                    <a:pt x="399788" y="338055"/>
                    <a:pt x="297712" y="318182"/>
                  </a:cubicBezTo>
                  <a:close/>
                  <a:moveTo>
                    <a:pt x="164021" y="235979"/>
                  </a:moveTo>
                  <a:cubicBezTo>
                    <a:pt x="132405" y="202556"/>
                    <a:pt x="109822" y="166424"/>
                    <a:pt x="97175" y="142937"/>
                  </a:cubicBezTo>
                  <a:lnTo>
                    <a:pt x="249836" y="172747"/>
                  </a:lnTo>
                  <a:lnTo>
                    <a:pt x="164021" y="235979"/>
                  </a:lnTo>
                  <a:close/>
                  <a:moveTo>
                    <a:pt x="191121" y="59832"/>
                  </a:moveTo>
                  <a:lnTo>
                    <a:pt x="255256" y="147454"/>
                  </a:lnTo>
                  <a:lnTo>
                    <a:pt x="100788" y="117644"/>
                  </a:lnTo>
                  <a:cubicBezTo>
                    <a:pt x="120661" y="101384"/>
                    <a:pt x="152278" y="78801"/>
                    <a:pt x="191121" y="59832"/>
                  </a:cubicBezTo>
                  <a:close/>
                  <a:moveTo>
                    <a:pt x="293196" y="154681"/>
                  </a:moveTo>
                  <a:lnTo>
                    <a:pt x="215510" y="48992"/>
                  </a:lnTo>
                  <a:cubicBezTo>
                    <a:pt x="238996" y="39055"/>
                    <a:pt x="263386" y="31829"/>
                    <a:pt x="289583" y="28216"/>
                  </a:cubicBezTo>
                  <a:lnTo>
                    <a:pt x="397078" y="174554"/>
                  </a:lnTo>
                  <a:lnTo>
                    <a:pt x="293196" y="154681"/>
                  </a:lnTo>
                  <a:close/>
                  <a:moveTo>
                    <a:pt x="285066" y="179973"/>
                  </a:moveTo>
                  <a:lnTo>
                    <a:pt x="394368" y="201653"/>
                  </a:lnTo>
                  <a:lnTo>
                    <a:pt x="253450" y="304632"/>
                  </a:lnTo>
                  <a:cubicBezTo>
                    <a:pt x="227253" y="291986"/>
                    <a:pt x="202864" y="274822"/>
                    <a:pt x="182087" y="254949"/>
                  </a:cubicBezTo>
                  <a:lnTo>
                    <a:pt x="285066" y="179973"/>
                  </a:lnTo>
                  <a:close/>
                  <a:moveTo>
                    <a:pt x="642781" y="437420"/>
                  </a:moveTo>
                  <a:cubicBezTo>
                    <a:pt x="594905" y="462713"/>
                    <a:pt x="572322" y="482586"/>
                    <a:pt x="560579" y="506976"/>
                  </a:cubicBezTo>
                  <a:cubicBezTo>
                    <a:pt x="548836" y="533172"/>
                    <a:pt x="553352" y="561175"/>
                    <a:pt x="558772" y="600018"/>
                  </a:cubicBezTo>
                  <a:cubicBezTo>
                    <a:pt x="562385" y="622601"/>
                    <a:pt x="535286" y="665057"/>
                    <a:pt x="499153" y="680414"/>
                  </a:cubicBezTo>
                  <a:cubicBezTo>
                    <a:pt x="485603" y="685833"/>
                    <a:pt x="476570" y="685833"/>
                    <a:pt x="471150" y="678607"/>
                  </a:cubicBezTo>
                  <a:cubicBezTo>
                    <a:pt x="460310" y="665057"/>
                    <a:pt x="461214" y="623504"/>
                    <a:pt x="461214" y="590082"/>
                  </a:cubicBezTo>
                  <a:cubicBezTo>
                    <a:pt x="461214" y="544012"/>
                    <a:pt x="462117" y="504266"/>
                    <a:pt x="443147" y="488006"/>
                  </a:cubicBezTo>
                  <a:cubicBezTo>
                    <a:pt x="435920" y="481683"/>
                    <a:pt x="427791" y="478973"/>
                    <a:pt x="417854" y="480779"/>
                  </a:cubicBezTo>
                  <a:cubicBezTo>
                    <a:pt x="409724" y="481683"/>
                    <a:pt x="400691" y="483489"/>
                    <a:pt x="392561" y="484393"/>
                  </a:cubicBezTo>
                  <a:cubicBezTo>
                    <a:pt x="343782" y="492522"/>
                    <a:pt x="313069" y="495233"/>
                    <a:pt x="297712" y="462713"/>
                  </a:cubicBezTo>
                  <a:cubicBezTo>
                    <a:pt x="272419" y="410320"/>
                    <a:pt x="323909" y="371478"/>
                    <a:pt x="347395" y="357024"/>
                  </a:cubicBezTo>
                  <a:cubicBezTo>
                    <a:pt x="351912" y="354314"/>
                    <a:pt x="356428" y="350701"/>
                    <a:pt x="360945" y="347088"/>
                  </a:cubicBezTo>
                  <a:cubicBezTo>
                    <a:pt x="417854" y="339861"/>
                    <a:pt x="471150" y="316375"/>
                    <a:pt x="519026" y="285662"/>
                  </a:cubicBezTo>
                  <a:cubicBezTo>
                    <a:pt x="577742" y="319085"/>
                    <a:pt x="622005" y="373284"/>
                    <a:pt x="642781" y="437420"/>
                  </a:cubicBezTo>
                  <a:close/>
                </a:path>
              </a:pathLst>
            </a:custGeom>
            <a:grpFill/>
            <a:ln w="9028" cap="flat">
              <a:noFill/>
              <a:prstDash val="solid"/>
              <a:miter/>
            </a:ln>
          </p:spPr>
          <p:txBody>
            <a:bodyPr rtlCol="0" anchor="ctr"/>
            <a:lstStyle/>
            <a:p>
              <a:endParaRPr lang="en-US"/>
            </a:p>
          </p:txBody>
        </p:sp>
      </p:grpSp>
    </p:spTree>
    <p:extLst>
      <p:ext uri="{BB962C8B-B14F-4D97-AF65-F5344CB8AC3E}">
        <p14:creationId xmlns:p14="http://schemas.microsoft.com/office/powerpoint/2010/main" val="11048563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B58AC65-3D0B-B6BA-9E7D-60F62BFCA44A}"/>
              </a:ext>
            </a:extLst>
          </p:cNvPr>
          <p:cNvSpPr>
            <a:spLocks noGrp="1"/>
          </p:cNvSpPr>
          <p:nvPr>
            <p:ph type="body" sz="quarter" idx="30"/>
          </p:nvPr>
        </p:nvSpPr>
        <p:spPr>
          <a:xfrm>
            <a:off x="5153183" y="236413"/>
            <a:ext cx="6110631" cy="845139"/>
          </a:xfrm>
        </p:spPr>
        <p:txBody>
          <a:bodyPr/>
          <a:lstStyle/>
          <a:p>
            <a:r>
              <a:rPr lang="en-GB" b="1" dirty="0"/>
              <a:t>Ökologische Nachhaltigkeit</a:t>
            </a:r>
          </a:p>
          <a:p>
            <a:endParaRPr lang="en-IE" dirty="0"/>
          </a:p>
        </p:txBody>
      </p:sp>
      <p:sp>
        <p:nvSpPr>
          <p:cNvPr id="4" name="Text Placeholder 3">
            <a:extLst>
              <a:ext uri="{FF2B5EF4-FFF2-40B4-BE49-F238E27FC236}">
                <a16:creationId xmlns:a16="http://schemas.microsoft.com/office/drawing/2014/main" id="{866D1600-C773-7FD6-95B9-4BAF8820D474}"/>
              </a:ext>
            </a:extLst>
          </p:cNvPr>
          <p:cNvSpPr>
            <a:spLocks noGrp="1"/>
          </p:cNvSpPr>
          <p:nvPr>
            <p:ph type="body" sz="quarter" idx="48"/>
          </p:nvPr>
        </p:nvSpPr>
        <p:spPr>
          <a:xfrm>
            <a:off x="5256505" y="1070073"/>
            <a:ext cx="6287795" cy="3466570"/>
          </a:xfrm>
        </p:spPr>
        <p:txBody>
          <a:bodyPr/>
          <a:lstStyle/>
          <a:p>
            <a:pPr algn="just">
              <a:spcAft>
                <a:spcPts val="600"/>
              </a:spcAft>
            </a:pPr>
            <a:r>
              <a:rPr lang="en-IE" sz="2000" dirty="0"/>
              <a:t>Die Einführung von Praktiken der ökologischen Nachhaltigkeit ist für Unternehmen, die ihren ökologischen Fußabdruck minimieren und ihre langfristige Rentabilität sicherstellen wollen, von grundlegender Bedeutung. </a:t>
            </a:r>
          </a:p>
          <a:p>
            <a:pPr algn="just">
              <a:spcAft>
                <a:spcPts val="600"/>
              </a:spcAft>
            </a:pPr>
            <a:r>
              <a:rPr lang="en-IE" sz="2000" dirty="0"/>
              <a:t>Durch die Integration umweltfreundlicher Praktiken in die Betriebsabläufe leisten die Unternehmen nicht nur einen positiven Beitrag zum Umweltschutz, sondern verbessern auch ihre betriebliche Effizienz und Widerstandsfähigkeit. </a:t>
            </a:r>
          </a:p>
          <a:p>
            <a:pPr algn="just">
              <a:spcAft>
                <a:spcPts val="600"/>
              </a:spcAft>
            </a:pPr>
            <a:r>
              <a:rPr lang="en-IE" sz="2000" dirty="0"/>
              <a:t>Initiativen zur ökologischen Nachhaltigkeit verringern nicht nur die mit Ressourcenknappheit und regulatorischen Änderungen verbundenen Risiken, sondern stärken auch den Ruf der Marke und die Attraktivität für umweltbewusste Verbraucher und Interessengruppen.</a:t>
            </a:r>
          </a:p>
          <a:p>
            <a:pPr algn="just">
              <a:spcAft>
                <a:spcPts val="600"/>
              </a:spcAft>
            </a:pPr>
            <a:endParaRPr lang="en-IE" sz="2000" dirty="0"/>
          </a:p>
        </p:txBody>
      </p:sp>
      <p:pic>
        <p:nvPicPr>
          <p:cNvPr id="2" name="Picture Placeholder 5">
            <a:extLst>
              <a:ext uri="{FF2B5EF4-FFF2-40B4-BE49-F238E27FC236}">
                <a16:creationId xmlns:a16="http://schemas.microsoft.com/office/drawing/2014/main" id="{7777D2DB-5BFB-2941-A1C6-DABABB1CA40F}"/>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7569" r="27569"/>
          <a:stretch/>
        </p:blipFill>
        <p:spPr>
          <a:xfrm>
            <a:off x="0" y="0"/>
            <a:ext cx="4614863" cy="6858000"/>
          </a:xfrm>
        </p:spPr>
      </p:pic>
    </p:spTree>
    <p:extLst>
      <p:ext uri="{BB962C8B-B14F-4D97-AF65-F5344CB8AC3E}">
        <p14:creationId xmlns:p14="http://schemas.microsoft.com/office/powerpoint/2010/main" val="1012612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B58AC65-3D0B-B6BA-9E7D-60F62BFCA44A}"/>
              </a:ext>
            </a:extLst>
          </p:cNvPr>
          <p:cNvSpPr>
            <a:spLocks noGrp="1"/>
          </p:cNvSpPr>
          <p:nvPr>
            <p:ph type="body" sz="quarter" idx="30"/>
          </p:nvPr>
        </p:nvSpPr>
        <p:spPr>
          <a:xfrm>
            <a:off x="5153183" y="236413"/>
            <a:ext cx="6110631" cy="845139"/>
          </a:xfrm>
        </p:spPr>
        <p:txBody>
          <a:bodyPr/>
          <a:lstStyle/>
          <a:p>
            <a:r>
              <a:rPr lang="en-GB" b="1" dirty="0"/>
              <a:t>Soziale Verantwortung</a:t>
            </a:r>
            <a:endParaRPr lang="en-GB" dirty="0"/>
          </a:p>
          <a:p>
            <a:endParaRPr lang="en-IE" dirty="0"/>
          </a:p>
        </p:txBody>
      </p:sp>
      <p:sp>
        <p:nvSpPr>
          <p:cNvPr id="4" name="Text Placeholder 3">
            <a:extLst>
              <a:ext uri="{FF2B5EF4-FFF2-40B4-BE49-F238E27FC236}">
                <a16:creationId xmlns:a16="http://schemas.microsoft.com/office/drawing/2014/main" id="{866D1600-C773-7FD6-95B9-4BAF8820D474}"/>
              </a:ext>
            </a:extLst>
          </p:cNvPr>
          <p:cNvSpPr>
            <a:spLocks noGrp="1"/>
          </p:cNvSpPr>
          <p:nvPr>
            <p:ph type="body" sz="quarter" idx="48"/>
          </p:nvPr>
        </p:nvSpPr>
        <p:spPr>
          <a:xfrm>
            <a:off x="5190010" y="954570"/>
            <a:ext cx="6373340" cy="3466570"/>
          </a:xfrm>
        </p:spPr>
        <p:txBody>
          <a:bodyPr/>
          <a:lstStyle/>
          <a:p>
            <a:pPr algn="just">
              <a:spcAft>
                <a:spcPts val="600"/>
              </a:spcAft>
            </a:pPr>
            <a:r>
              <a:rPr lang="en-IE" sz="2000" dirty="0"/>
              <a:t>Von Unternehmen wird zunehmend erwartet, dass sie ihre soziale Verantwortung wahrnehmen, indem sie ethisches Verhalten, faire Arbeitsbedingungen und aktives Engagement in der Gemeinschaft in den Vordergrund stellen. </a:t>
            </a:r>
          </a:p>
          <a:p>
            <a:pPr algn="just">
              <a:spcAft>
                <a:spcPts val="600"/>
              </a:spcAft>
            </a:pPr>
            <a:r>
              <a:rPr lang="en-IE" sz="2000" dirty="0"/>
              <a:t>Durch die Förderung eines ethischen Lieferkettenmanagements und die Unterstützung lokaler Gemeinschaften verbessern Unternehmen ihren Ruf und schaffen Vertrauen bei den Interessengruppen. </a:t>
            </a:r>
          </a:p>
          <a:p>
            <a:pPr algn="just">
              <a:spcAft>
                <a:spcPts val="600"/>
              </a:spcAft>
            </a:pPr>
            <a:r>
              <a:rPr lang="en-IE" sz="2000" dirty="0"/>
              <a:t>Die Übernahme sozialer Verantwortung wirkt sich positiv auf die Gesellschaft aus, stärkt die Widerstandsfähigkeit des Unternehmens und sorgt langfristig für nachhaltiges Wachstum. Sie zieht auch Mitarbeiter und Kunden an, die ethische Praktiken schätzen und sich dem Engagement des Unternehmens für das Gemeinwohl anschließen.</a:t>
            </a:r>
          </a:p>
          <a:p>
            <a:pPr>
              <a:spcAft>
                <a:spcPts val="600"/>
              </a:spcAft>
            </a:pPr>
            <a:endParaRPr lang="en-IE" sz="2000" dirty="0"/>
          </a:p>
        </p:txBody>
      </p:sp>
      <p:pic>
        <p:nvPicPr>
          <p:cNvPr id="2" name="Picture Placeholder 5" descr="Large and small hands holding red heart">
            <a:extLst>
              <a:ext uri="{FF2B5EF4-FFF2-40B4-BE49-F238E27FC236}">
                <a16:creationId xmlns:a16="http://schemas.microsoft.com/office/drawing/2014/main" id="{3FB16DFA-CB8C-EE08-C975-6CDD16856B43}"/>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9389" r="52759"/>
          <a:stretch/>
        </p:blipFill>
        <p:spPr>
          <a:xfrm>
            <a:off x="0" y="0"/>
            <a:ext cx="4614863" cy="6858000"/>
          </a:xfrm>
        </p:spPr>
      </p:pic>
    </p:spTree>
    <p:extLst>
      <p:ext uri="{BB962C8B-B14F-4D97-AF65-F5344CB8AC3E}">
        <p14:creationId xmlns:p14="http://schemas.microsoft.com/office/powerpoint/2010/main" val="17119837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5" y="1971986"/>
            <a:ext cx="10483429" cy="4439577"/>
          </a:xfrm>
        </p:spPr>
        <p:txBody>
          <a:bodyPr/>
          <a:lstStyle/>
          <a:p>
            <a:pPr>
              <a:spcAft>
                <a:spcPts val="600"/>
              </a:spcAft>
            </a:pPr>
            <a:r>
              <a:rPr lang="en-GB" sz="2000"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 </a:t>
            </a:r>
            <a:r>
              <a:rPr lang="en-GB" sz="2000" dirty="0"/>
              <a:t>Förderung fairer Arbeitspraktiken und eines integrativen Wirtschaftswachstums, die für die langfristige Unternehmensplanung von entscheidender Bedeutung sind.</a:t>
            </a:r>
          </a:p>
          <a:p>
            <a:pPr>
              <a:spcAft>
                <a:spcPts val="600"/>
              </a:spcAft>
            </a:pPr>
            <a:r>
              <a:rPr lang="en-GB" sz="2000" b="1" dirty="0">
                <a:solidFill>
                  <a:srgbClr val="0F486D"/>
                </a:solidFill>
                <a:hlinkClick r:id="rId3">
                  <a:extLst>
                    <a:ext uri="{A12FA001-AC4F-418D-AE19-62706E023703}">
                      <ahyp:hlinkClr xmlns:ahyp="http://schemas.microsoft.com/office/drawing/2018/hyperlinkcolor" val="tx"/>
                    </a:ext>
                  </a:extLst>
                </a:hlinkClick>
              </a:rPr>
              <a:t>SDG 9 (Industrie, Innovation und Infrastruktur): </a:t>
            </a:r>
            <a:r>
              <a:rPr lang="en-GB" sz="2000" dirty="0"/>
              <a:t>Der Schwerpunkt liegt auf nachhaltiger Infrastrukturentwicklung und Innovation, die zu langfristigem Wirtschaftswachstum und industrieller Entwicklung beitragen.</a:t>
            </a:r>
          </a:p>
          <a:p>
            <a:pPr>
              <a:spcAft>
                <a:spcPts val="600"/>
              </a:spcAft>
            </a:pPr>
            <a:r>
              <a:rPr lang="en-GB" sz="2000" b="1" dirty="0">
                <a:solidFill>
                  <a:srgbClr val="0F486D"/>
                </a:solidFill>
                <a:hlinkClick r:id="rId4">
                  <a:extLst>
                    <a:ext uri="{A12FA001-AC4F-418D-AE19-62706E023703}">
                      <ahyp:hlinkClr xmlns:ahyp="http://schemas.microsoft.com/office/drawing/2018/hyperlinkcolor" val="tx"/>
                    </a:ext>
                  </a:extLst>
                </a:hlinkClick>
              </a:rPr>
              <a:t>SDG 10 (Ungleichheiten abbauen): </a:t>
            </a:r>
            <a:r>
              <a:rPr lang="en-GB" sz="2000" dirty="0"/>
              <a:t>Bekämpfung sozialer Ungleichheiten durch verantwortungsvolle Geschäftspraktiken, die für langfristige Nachhaltigkeit und ethisches Geschäftsgebaren unerlässlich sind.</a:t>
            </a:r>
          </a:p>
          <a:p>
            <a:pPr>
              <a:spcAft>
                <a:spcPts val="600"/>
              </a:spcAft>
            </a:pPr>
            <a:r>
              <a:rPr lang="en-GB" sz="2000" b="1" dirty="0">
                <a:solidFill>
                  <a:srgbClr val="0F486D"/>
                </a:solidFill>
                <a:hlinkClick r:id="rId5">
                  <a:extLst>
                    <a:ext uri="{A12FA001-AC4F-418D-AE19-62706E023703}">
                      <ahyp:hlinkClr xmlns:ahyp="http://schemas.microsoft.com/office/drawing/2018/hyperlinkcolor" val="tx"/>
                    </a:ext>
                  </a:extLst>
                </a:hlinkClick>
              </a:rPr>
              <a:t>SDG 12 (Verantwortungsbewusster Konsum und Produktion): </a:t>
            </a:r>
            <a:r>
              <a:rPr lang="en-GB" sz="2000" dirty="0"/>
              <a:t>Der Schwerpunkt liegt auf nachhaltigen Konsum- und Produktionsmustern, die Transparenz und Rechenschaftspflicht in die Geschäftspraktiken einbeziehen und sich an den langfristigen Zielen für nachhaltige Entwicklung orientieren.</a:t>
            </a:r>
          </a:p>
        </p:txBody>
      </p:sp>
      <p:sp>
        <p:nvSpPr>
          <p:cNvPr id="6" name="Text Placeholder 1">
            <a:extLst>
              <a:ext uri="{FF2B5EF4-FFF2-40B4-BE49-F238E27FC236}">
                <a16:creationId xmlns:a16="http://schemas.microsoft.com/office/drawing/2014/main" id="{91EEEA27-C61F-C085-B2A6-E7AB25454E72}"/>
              </a:ext>
            </a:extLst>
          </p:cNvPr>
          <p:cNvSpPr>
            <a:spLocks noGrp="1"/>
          </p:cNvSpPr>
          <p:nvPr>
            <p:ph type="body" sz="quarter" idx="30"/>
          </p:nvPr>
        </p:nvSpPr>
        <p:spPr>
          <a:xfrm>
            <a:off x="854283" y="450972"/>
            <a:ext cx="9855648" cy="804265"/>
          </a:xfrm>
        </p:spPr>
        <p:txBody>
          <a:bodyPr/>
          <a:lstStyle/>
          <a:p>
            <a:pPr algn="ctr"/>
            <a:r>
              <a:rPr lang="en-US" sz="3200" dirty="0"/>
              <a:t>AUSRICHTUNG AUF DIE ZIELE DER NACHHALTIGEN ENTWICKLUNG</a:t>
            </a:r>
          </a:p>
        </p:txBody>
      </p:sp>
      <p:pic>
        <p:nvPicPr>
          <p:cNvPr id="7" name="Picture 2">
            <a:extLst>
              <a:ext uri="{FF2B5EF4-FFF2-40B4-BE49-F238E27FC236}">
                <a16:creationId xmlns:a16="http://schemas.microsoft.com/office/drawing/2014/main" id="{80C6FD15-01DD-51FC-F959-4FA6FD7420F0}"/>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366322" y="540862"/>
            <a:ext cx="14287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0766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2" y="640454"/>
            <a:ext cx="10483431" cy="804265"/>
          </a:xfrm>
        </p:spPr>
        <p:txBody>
          <a:bodyPr/>
          <a:lstStyle/>
          <a:p>
            <a:pPr algn="ctr"/>
            <a:r>
              <a:rPr lang="en-US" dirty="0"/>
              <a:t>ANGLEICHUNG AN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1770078"/>
            <a:ext cx="10483429" cy="4760556"/>
          </a:xfrm>
        </p:spPr>
        <p:txBody>
          <a:bodyPr/>
          <a:lstStyle/>
          <a:p>
            <a:r>
              <a:rPr lang="en-GB" sz="2200" b="1" dirty="0">
                <a:solidFill>
                  <a:srgbClr val="0F486D"/>
                </a:solidFill>
                <a:hlinkClick r:id="rId2">
                  <a:extLst>
                    <a:ext uri="{A12FA001-AC4F-418D-AE19-62706E023703}">
                      <ahyp:hlinkClr xmlns:ahyp="http://schemas.microsoft.com/office/drawing/2018/hyperlinkcolor" val="tx"/>
                    </a:ext>
                  </a:extLst>
                </a:hlinkClick>
              </a:rPr>
              <a:t>EntreComp 1.5 Ethisches und nachhaltiges Denken</a:t>
            </a:r>
            <a:r>
              <a:rPr lang="en-GB" sz="2200" b="1" dirty="0"/>
              <a:t>: </a:t>
            </a:r>
            <a:r>
              <a:rPr lang="en-GB" sz="2200" dirty="0"/>
              <a:t>Die Bewertung der Folgen und Auswirkungen von Ideen, Möglichkeiten und Handlungen fördert nachhaltige Managementpraktiken, die soziale Verantwortung von Unternehmen und die Eingliederung in Unternehmen und trägt so zu einem ethischen Geschäftsgebaren bei.</a:t>
            </a:r>
          </a:p>
          <a:p>
            <a:endParaRPr lang="en-GB" sz="2200" b="1" dirty="0"/>
          </a:p>
          <a:p>
            <a:r>
              <a:rPr lang="en-GB" sz="2200" b="1" dirty="0">
                <a:solidFill>
                  <a:srgbClr val="0F486D"/>
                </a:solidFill>
                <a:hlinkClick r:id="rId2">
                  <a:extLst>
                    <a:ext uri="{A12FA001-AC4F-418D-AE19-62706E023703}">
                      <ahyp:hlinkClr xmlns:ahyp="http://schemas.microsoft.com/office/drawing/2018/hyperlinkcolor" val="tx"/>
                    </a:ext>
                  </a:extLst>
                </a:hlinkClick>
              </a:rPr>
              <a:t>EntreComp 3.1 Die Initiative ergreifen</a:t>
            </a:r>
            <a:r>
              <a:rPr lang="en-GB" sz="2200" b="1" dirty="0"/>
              <a:t>: </a:t>
            </a:r>
            <a:r>
              <a:rPr lang="en-GB" sz="2200" dirty="0"/>
              <a:t>Das Erkennen von Chancen, das Treffen unabhängiger operativer Entscheidungen und die Formulierung strategischer Geschäftsentscheidungen befähigen zu nachhaltigen Praktiken innerhalb des Geschäftsbetriebs und unterstützen den Umweltschutz und verantwortungsvolles Unternehmertum.</a:t>
            </a:r>
          </a:p>
        </p:txBody>
      </p:sp>
      <p:pic>
        <p:nvPicPr>
          <p:cNvPr id="4" name="Picture 3">
            <a:extLst>
              <a:ext uri="{FF2B5EF4-FFF2-40B4-BE49-F238E27FC236}">
                <a16:creationId xmlns:a16="http://schemas.microsoft.com/office/drawing/2014/main" id="{E6EC3E4E-9E3C-8B31-6C96-805339182E77}"/>
              </a:ext>
            </a:extLst>
          </p:cNvPr>
          <p:cNvPicPr>
            <a:picLocks noChangeAspect="1"/>
          </p:cNvPicPr>
          <p:nvPr/>
        </p:nvPicPr>
        <p:blipFill>
          <a:blip r:embed="rId3"/>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1222742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C9FEF5-00B5-4217-9726-77BED5B11F96}"/>
              </a:ext>
            </a:extLst>
          </p:cNvPr>
          <p:cNvGraphicFramePr>
            <a:graphicFrameLocks noChangeAspect="1"/>
          </p:cNvGraphicFramePr>
          <p:nvPr>
            <p:custDataLst>
              <p:tags r:id="rId1"/>
            </p:custDataLst>
            <p:extLst>
              <p:ext uri="{D42A27DB-BD31-4B8C-83A1-F6EECF244321}">
                <p14:modId xmlns:p14="http://schemas.microsoft.com/office/powerpoint/2010/main" val="650585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Two cute robots">
            <a:extLst>
              <a:ext uri="{FF2B5EF4-FFF2-40B4-BE49-F238E27FC236}">
                <a16:creationId xmlns:a16="http://schemas.microsoft.com/office/drawing/2014/main" id="{7B35A520-E0B9-0270-191F-2A902099D3C2}"/>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A0C335A3-EE55-F05B-FD33-823DE692CF6C}"/>
              </a:ext>
            </a:extLst>
          </p:cNvPr>
          <p:cNvSpPr>
            <a:spLocks noGrp="1"/>
          </p:cNvSpPr>
          <p:nvPr>
            <p:ph type="body" sz="quarter" idx="30"/>
          </p:nvPr>
        </p:nvSpPr>
        <p:spPr>
          <a:xfrm>
            <a:off x="3767537" y="168479"/>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3466DB92-AB89-C473-7ADE-095100E2CD07}"/>
              </a:ext>
            </a:extLst>
          </p:cNvPr>
          <p:cNvSpPr>
            <a:spLocks noGrp="1"/>
          </p:cNvSpPr>
          <p:nvPr>
            <p:ph type="body" sz="quarter" idx="48"/>
          </p:nvPr>
        </p:nvSpPr>
        <p:spPr>
          <a:xfrm>
            <a:off x="5083727" y="1146269"/>
            <a:ext cx="6316911" cy="5410899"/>
          </a:xfrm>
          <a:solidFill>
            <a:schemeClr val="bg1"/>
          </a:solidFill>
        </p:spPr>
        <p:txBody>
          <a:bodyPr/>
          <a:lstStyle/>
          <a:p>
            <a:pPr algn="just">
              <a:spcAft>
                <a:spcPts val="600"/>
              </a:spcAft>
            </a:pPr>
            <a:r>
              <a:rPr lang="en-GB" sz="1800" b="1" dirty="0"/>
              <a:t>Szenarioanalyse für die strategische Entscheidungsfindung:</a:t>
            </a:r>
            <a:endParaRPr lang="en-GB" sz="1800" dirty="0"/>
          </a:p>
          <a:p>
            <a:pPr algn="just">
              <a:spcAft>
                <a:spcPts val="600"/>
              </a:spcAft>
            </a:pPr>
            <a:r>
              <a:rPr lang="en-GB" sz="1800" b="1" dirty="0"/>
              <a:t>Ziel</a:t>
            </a:r>
            <a:r>
              <a:rPr lang="en-GB" sz="1800" dirty="0"/>
              <a:t>: Entwicklung von Fähigkeiten zur Antizipation künftiger Herausforderungen und Chancen.</a:t>
            </a:r>
          </a:p>
          <a:p>
            <a:pPr algn="just">
              <a:spcAft>
                <a:spcPts val="600"/>
              </a:spcAft>
            </a:pPr>
            <a:r>
              <a:rPr lang="en-GB" sz="1800" b="1" dirty="0"/>
              <a:t>Schritte:</a:t>
            </a:r>
            <a:endParaRPr lang="en-GB" sz="1800" dirty="0"/>
          </a:p>
          <a:p>
            <a:pPr marL="285750" indent="-285750">
              <a:buFont typeface="Arial" panose="020B0604020202020204" pitchFamily="34" charset="0"/>
              <a:buChar char="•"/>
            </a:pPr>
            <a:r>
              <a:rPr lang="en-GB" sz="1800" dirty="0"/>
              <a:t>Wählen Sie ein plausibles Zukunftsszenario aus, das für Ihre Branche relevant ist (z. B. technologische Umwälzungen, gesetzliche Änderungen).</a:t>
            </a:r>
          </a:p>
          <a:p>
            <a:pPr marL="285750" indent="-285750">
              <a:buFont typeface="Arial" panose="020B0604020202020204" pitchFamily="34" charset="0"/>
              <a:buChar char="•"/>
            </a:pPr>
            <a:r>
              <a:rPr lang="en-GB" sz="1800" dirty="0"/>
              <a:t>Analysieren Sie die möglichen Auswirkungen des Szenarios auf Ihren Geschäftsbetrieb, Ihre Marktposition und Ihre Nachhaltigkeitsziele.</a:t>
            </a:r>
          </a:p>
          <a:p>
            <a:pPr marL="285750" indent="-285750">
              <a:spcAft>
                <a:spcPts val="600"/>
              </a:spcAft>
              <a:buFont typeface="Arial" panose="020B0604020202020204" pitchFamily="34" charset="0"/>
              <a:buChar char="•"/>
            </a:pPr>
            <a:r>
              <a:rPr lang="en-GB" sz="1800" dirty="0"/>
              <a:t>Entwicklung strategischer Antworten und Notfallpläne, um Risiken zu mindern und Chancen zu nutzen.</a:t>
            </a:r>
          </a:p>
          <a:p>
            <a:pPr algn="just">
              <a:spcAft>
                <a:spcPts val="600"/>
              </a:spcAft>
            </a:pPr>
            <a:r>
              <a:rPr lang="en-GB" sz="1800" b="1" dirty="0"/>
              <a:t>Lernziel: </a:t>
            </a:r>
            <a:r>
              <a:rPr lang="en-GB" sz="1800" dirty="0"/>
              <a:t>Verbesserung der strategischen Voraussicht und der Entscheidungsfähigkeit unter unsicheren Bedingungen.</a:t>
            </a:r>
            <a:endParaRPr lang="en-IE" sz="1800" dirty="0"/>
          </a:p>
        </p:txBody>
      </p:sp>
    </p:spTree>
    <p:extLst>
      <p:ext uri="{BB962C8B-B14F-4D97-AF65-F5344CB8AC3E}">
        <p14:creationId xmlns:p14="http://schemas.microsoft.com/office/powerpoint/2010/main" val="15671281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17EB17-C560-2F48-F127-11489A6DF023}"/>
              </a:ext>
            </a:extLst>
          </p:cNvPr>
          <p:cNvSpPr>
            <a:spLocks noGrp="1"/>
          </p:cNvSpPr>
          <p:nvPr>
            <p:ph type="body" sz="quarter" idx="30"/>
          </p:nvPr>
        </p:nvSpPr>
        <p:spPr/>
        <p:txBody>
          <a:bodyPr/>
          <a:lstStyle/>
          <a:p>
            <a:r>
              <a:rPr lang="en-US" dirty="0"/>
              <a:t>Verfolgen Sie unsere Reise hier</a:t>
            </a:r>
          </a:p>
        </p:txBody>
      </p:sp>
      <p:grpSp>
        <p:nvGrpSpPr>
          <p:cNvPr id="42" name="Group 41">
            <a:extLst>
              <a:ext uri="{FF2B5EF4-FFF2-40B4-BE49-F238E27FC236}">
                <a16:creationId xmlns:a16="http://schemas.microsoft.com/office/drawing/2014/main" id="{4FB419A5-7108-66DE-8067-5F740F693A63}"/>
              </a:ext>
            </a:extLst>
          </p:cNvPr>
          <p:cNvGrpSpPr/>
          <p:nvPr/>
        </p:nvGrpSpPr>
        <p:grpSpPr>
          <a:xfrm>
            <a:off x="902886" y="4544736"/>
            <a:ext cx="1381201" cy="398804"/>
            <a:chOff x="10161196" y="4811882"/>
            <a:chExt cx="972657" cy="280842"/>
          </a:xfrm>
        </p:grpSpPr>
        <p:grpSp>
          <p:nvGrpSpPr>
            <p:cNvPr id="30" name="Graphic 3">
              <a:extLst>
                <a:ext uri="{FF2B5EF4-FFF2-40B4-BE49-F238E27FC236}">
                  <a16:creationId xmlns:a16="http://schemas.microsoft.com/office/drawing/2014/main" id="{7B77FC5E-2F2B-A7ED-E6A0-7A58CC3A8BE7}"/>
                </a:ext>
              </a:extLst>
            </p:cNvPr>
            <p:cNvGrpSpPr/>
            <p:nvPr/>
          </p:nvGrpSpPr>
          <p:grpSpPr>
            <a:xfrm>
              <a:off x="10507103" y="4811882"/>
              <a:ext cx="280634" cy="280634"/>
              <a:chOff x="-147782" y="2499889"/>
              <a:chExt cx="850463" cy="850463"/>
            </a:xfrm>
          </p:grpSpPr>
          <p:sp>
            <p:nvSpPr>
              <p:cNvPr id="31" name="Freeform 30">
                <a:extLst>
                  <a:ext uri="{FF2B5EF4-FFF2-40B4-BE49-F238E27FC236}">
                    <a16:creationId xmlns:a16="http://schemas.microsoft.com/office/drawing/2014/main" id="{3D62EE33-8C94-203E-E103-2C3774128312}"/>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1FEF4ECC-EE55-0351-A780-87E68FC924E9}"/>
                  </a:ext>
                </a:extLst>
              </p:cNvPr>
              <p:cNvSpPr/>
              <p:nvPr/>
            </p:nvSpPr>
            <p:spPr>
              <a:xfrm>
                <a:off x="18530" y="2722899"/>
                <a:ext cx="549966" cy="447280"/>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6" name="Graphic 3">
              <a:extLst>
                <a:ext uri="{FF2B5EF4-FFF2-40B4-BE49-F238E27FC236}">
                  <a16:creationId xmlns:a16="http://schemas.microsoft.com/office/drawing/2014/main" id="{5A1AFCC3-A5FE-C79B-0902-8C62AAC6ACAD}"/>
                </a:ext>
              </a:extLst>
            </p:cNvPr>
            <p:cNvGrpSpPr/>
            <p:nvPr/>
          </p:nvGrpSpPr>
          <p:grpSpPr>
            <a:xfrm>
              <a:off x="10161196" y="4811882"/>
              <a:ext cx="280634" cy="280842"/>
              <a:chOff x="-1196056" y="2499889"/>
              <a:chExt cx="850463" cy="851093"/>
            </a:xfrm>
          </p:grpSpPr>
          <p:sp>
            <p:nvSpPr>
              <p:cNvPr id="37" name="Freeform 36">
                <a:extLst>
                  <a:ext uri="{FF2B5EF4-FFF2-40B4-BE49-F238E27FC236}">
                    <a16:creationId xmlns:a16="http://schemas.microsoft.com/office/drawing/2014/main" id="{318F1BF9-28E4-D847-4861-D0DC4FD5C9D3}"/>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8" name="Freeform 37">
                <a:extLst>
                  <a:ext uri="{FF2B5EF4-FFF2-40B4-BE49-F238E27FC236}">
                    <a16:creationId xmlns:a16="http://schemas.microsoft.com/office/drawing/2014/main" id="{C5E46B2B-6939-E268-5BA7-62CC350C1E12}"/>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39" name="Freeform 38">
              <a:extLst>
                <a:ext uri="{FF2B5EF4-FFF2-40B4-BE49-F238E27FC236}">
                  <a16:creationId xmlns:a16="http://schemas.microsoft.com/office/drawing/2014/main" id="{DD88B1FF-94FA-8CB2-6FC2-0745BBA05F0C}"/>
                </a:ext>
              </a:extLst>
            </p:cNvPr>
            <p:cNvSpPr/>
            <p:nvPr/>
          </p:nvSpPr>
          <p:spPr>
            <a:xfrm>
              <a:off x="10853219" y="4811882"/>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41" name="Graphic 40" descr="World with solid fill">
              <a:extLst>
                <a:ext uri="{FF2B5EF4-FFF2-40B4-BE49-F238E27FC236}">
                  <a16:creationId xmlns:a16="http://schemas.microsoft.com/office/drawing/2014/main" id="{BACCCD9D-6F72-31D4-067A-CE32098EDA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0498" y="4829161"/>
              <a:ext cx="246077" cy="246077"/>
            </a:xfrm>
            <a:prstGeom prst="rect">
              <a:avLst/>
            </a:prstGeom>
          </p:spPr>
        </p:pic>
      </p:grpSp>
    </p:spTree>
    <p:extLst>
      <p:ext uri="{BB962C8B-B14F-4D97-AF65-F5344CB8AC3E}">
        <p14:creationId xmlns:p14="http://schemas.microsoft.com/office/powerpoint/2010/main" val="2556255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AEF1D91-CB80-6D5D-59CB-35C4C5FF5757}"/>
              </a:ext>
            </a:extLst>
          </p:cNvPr>
          <p:cNvGraphicFramePr>
            <a:graphicFrameLocks noChangeAspect="1"/>
          </p:cNvGraphicFramePr>
          <p:nvPr>
            <p:custDataLst>
              <p:tags r:id="rId1"/>
            </p:custDataLst>
            <p:extLst>
              <p:ext uri="{D42A27DB-BD31-4B8C-83A1-F6EECF244321}">
                <p14:modId xmlns:p14="http://schemas.microsoft.com/office/powerpoint/2010/main" val="114261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16">
            <a:extLst>
              <a:ext uri="{FF2B5EF4-FFF2-40B4-BE49-F238E27FC236}">
                <a16:creationId xmlns:a16="http://schemas.microsoft.com/office/drawing/2014/main" id="{6BD0B0B4-F595-4746-DB98-3CACD5EACD84}"/>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15217" r="15217"/>
          <a:stretch>
            <a:fillRect/>
          </a:stretch>
        </p:blipFill>
        <p:spPr>
          <a:xfrm>
            <a:off x="5675313" y="546100"/>
            <a:ext cx="5883275" cy="5640388"/>
          </a:xfrm>
        </p:spPr>
      </p:pic>
      <p:pic>
        <p:nvPicPr>
          <p:cNvPr id="5" name="Picture Placeholder 14">
            <a:extLst>
              <a:ext uri="{FF2B5EF4-FFF2-40B4-BE49-F238E27FC236}">
                <a16:creationId xmlns:a16="http://schemas.microsoft.com/office/drawing/2014/main" id="{E0CE1CBF-56B9-5047-E39A-877D859318ED}"/>
              </a:ext>
            </a:extLst>
          </p:cNvPr>
          <p:cNvPicPr>
            <a:picLocks noGrp="1" noChangeAspect="1"/>
          </p:cNvPicPr>
          <p:nvPr>
            <p:ph type="pic" sz="quarter" idx="22"/>
          </p:nvPr>
        </p:nvPicPr>
        <p:blipFill>
          <a:blip r:embed="rId6" cstate="email">
            <a:extLst>
              <a:ext uri="{28A0092B-C50C-407E-A947-70E740481C1C}">
                <a14:useLocalDpi xmlns:a14="http://schemas.microsoft.com/office/drawing/2010/main"/>
              </a:ext>
            </a:extLst>
          </a:blip>
          <a:srcRect l="3558" r="3558"/>
          <a:stretch>
            <a:fillRect/>
          </a:stretch>
        </p:blipFill>
        <p:spPr>
          <a:xfrm>
            <a:off x="773113" y="2843213"/>
            <a:ext cx="4656137" cy="3343275"/>
          </a:xfrm>
        </p:spPr>
      </p:pic>
      <p:sp>
        <p:nvSpPr>
          <p:cNvPr id="3" name="Slide Number Placeholder 2">
            <a:extLst>
              <a:ext uri="{FF2B5EF4-FFF2-40B4-BE49-F238E27FC236}">
                <a16:creationId xmlns:a16="http://schemas.microsoft.com/office/drawing/2014/main" id="{EA9DD38B-6E14-C94C-91D7-C8452BCE431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7</a:t>
            </a:fld>
            <a:endParaRPr lang="en-US" dirty="0"/>
          </a:p>
        </p:txBody>
      </p:sp>
      <p:grpSp>
        <p:nvGrpSpPr>
          <p:cNvPr id="18" name="Group 17">
            <a:extLst>
              <a:ext uri="{FF2B5EF4-FFF2-40B4-BE49-F238E27FC236}">
                <a16:creationId xmlns:a16="http://schemas.microsoft.com/office/drawing/2014/main" id="{7740FAE1-2E8A-BBC1-A4F8-99E701F4D28E}"/>
              </a:ext>
            </a:extLst>
          </p:cNvPr>
          <p:cNvGrpSpPr/>
          <p:nvPr/>
        </p:nvGrpSpPr>
        <p:grpSpPr>
          <a:xfrm>
            <a:off x="2745248" y="4864913"/>
            <a:ext cx="4269146" cy="1993087"/>
            <a:chOff x="-1871944" y="1778846"/>
            <a:chExt cx="1736764" cy="810823"/>
          </a:xfrm>
        </p:grpSpPr>
        <p:sp>
          <p:nvSpPr>
            <p:cNvPr id="19" name="Freeform 18">
              <a:extLst>
                <a:ext uri="{FF2B5EF4-FFF2-40B4-BE49-F238E27FC236}">
                  <a16:creationId xmlns:a16="http://schemas.microsoft.com/office/drawing/2014/main" id="{A98D6365-C89B-4191-C731-580C53F51258}"/>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2987FED-3417-F6D8-8342-0819CC26E3BD}"/>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1D37FA7-DEFE-94C2-2CCE-E400C17C11F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BDA371D-6FB5-8FFF-508C-5C093EEAE4B7}"/>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31C4F72-AE0F-473A-0F62-762B04CCA75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9527BE-E83E-A017-EBD3-D52839EB7BB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pic>
        <p:nvPicPr>
          <p:cNvPr id="2" name="Picture Placeholder 12">
            <a:extLst>
              <a:ext uri="{FF2B5EF4-FFF2-40B4-BE49-F238E27FC236}">
                <a16:creationId xmlns:a16="http://schemas.microsoft.com/office/drawing/2014/main" id="{B8A8CA9D-8BFD-09F4-0E88-416B8184663E}"/>
              </a:ext>
            </a:extLst>
          </p:cNvPr>
          <p:cNvPicPr>
            <a:picLocks noGrp="1" noChangeAspect="1"/>
          </p:cNvPicPr>
          <p:nvPr>
            <p:ph type="pic" sz="quarter" idx="23"/>
          </p:nvPr>
        </p:nvPicPr>
        <p:blipFill>
          <a:blip r:embed="rId7" cstate="email">
            <a:extLst>
              <a:ext uri="{28A0092B-C50C-407E-A947-70E740481C1C}">
                <a14:useLocalDpi xmlns:a14="http://schemas.microsoft.com/office/drawing/2010/main"/>
              </a:ext>
            </a:extLst>
          </a:blip>
          <a:srcRect t="16950" b="16950"/>
          <a:stretch>
            <a:fillRect/>
          </a:stretch>
        </p:blipFill>
        <p:spPr>
          <a:xfrm>
            <a:off x="773113" y="566738"/>
            <a:ext cx="4656137" cy="2052637"/>
          </a:xfrm>
        </p:spPr>
      </p:pic>
    </p:spTree>
    <p:extLst>
      <p:ext uri="{BB962C8B-B14F-4D97-AF65-F5344CB8AC3E}">
        <p14:creationId xmlns:p14="http://schemas.microsoft.com/office/powerpoint/2010/main" val="3474371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327C31A-6C97-29B0-DAD1-D073DEAFF370}"/>
              </a:ext>
            </a:extLst>
          </p:cNvPr>
          <p:cNvGraphicFramePr>
            <a:graphicFrameLocks noChangeAspect="1"/>
          </p:cNvGraphicFramePr>
          <p:nvPr>
            <p:custDataLst>
              <p:tags r:id="rId1"/>
            </p:custDataLst>
            <p:extLst>
              <p:ext uri="{D42A27DB-BD31-4B8C-83A1-F6EECF244321}">
                <p14:modId xmlns:p14="http://schemas.microsoft.com/office/powerpoint/2010/main" val="3699173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Child drawing the earth">
            <a:extLst>
              <a:ext uri="{FF2B5EF4-FFF2-40B4-BE49-F238E27FC236}">
                <a16:creationId xmlns:a16="http://schemas.microsoft.com/office/drawing/2014/main" id="{D7FC303C-A117-E1C7-3F89-2707E273E533}"/>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757" b="6757"/>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016153"/>
            <a:ext cx="3113515" cy="2850370"/>
          </a:xfrm>
        </p:spPr>
        <p:txBody>
          <a:bodyPr/>
          <a:lstStyle/>
          <a:p>
            <a:r>
              <a:rPr lang="en-US" b="1" dirty="0"/>
              <a:t>TRIPLE-BOTTOM-LINE (TBL)-ANSATZ </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2</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285544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264567"/>
            <a:ext cx="4951851" cy="1279970"/>
          </a:xfrm>
        </p:spPr>
        <p:txBody>
          <a:bodyPr/>
          <a:lstStyle/>
          <a:p>
            <a:r>
              <a:rPr lang="en-US" dirty="0"/>
              <a:t>TRIPLE-BOTTOM-LINE (TBL)-ANSATZ</a:t>
            </a:r>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9</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BCC1460D-FC2B-752B-08C5-51FD1A60F072}"/>
              </a:ext>
            </a:extLst>
          </p:cNvPr>
          <p:cNvSpPr txBox="1"/>
          <p:nvPr/>
        </p:nvSpPr>
        <p:spPr>
          <a:xfrm>
            <a:off x="11494889" y="2974206"/>
            <a:ext cx="576060" cy="3782729"/>
          </a:xfrm>
          <a:prstGeom prst="rect">
            <a:avLst/>
          </a:prstGeom>
          <a:solidFill>
            <a:schemeClr val="bg1"/>
          </a:solidFill>
        </p:spPr>
        <p:txBody>
          <a:bodyPr wrap="square" rtlCol="0">
            <a:spAutoFit/>
          </a:bodyPr>
          <a:lstStyle/>
          <a:p>
            <a:endParaRPr lang="en-IE"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287532" y="1767017"/>
            <a:ext cx="5474540" cy="4261028"/>
          </a:xfrm>
        </p:spPr>
        <p:txBody>
          <a:bodyPr/>
          <a:lstStyle/>
          <a:p>
            <a:pPr algn="just">
              <a:spcAft>
                <a:spcPts val="600"/>
              </a:spcAft>
            </a:pPr>
            <a:r>
              <a:rPr lang="en-GB" sz="2000" dirty="0"/>
              <a:t>Dieser Abschnitt konzentriert sich auf den Triple-Bottom-Line-Ansatz (TBL), ein grundlegendes Konzept für nachhaltiges Wirtschaften. </a:t>
            </a:r>
          </a:p>
          <a:p>
            <a:pPr algn="just">
              <a:spcAft>
                <a:spcPts val="600"/>
              </a:spcAft>
            </a:pPr>
            <a:r>
              <a:rPr lang="en-GB" sz="2000" dirty="0"/>
              <a:t>Die Teilnehmer werden ein umfassendes Verständnis von TBL erlangen, indem sie untersuchen, wie wirtschaftliche, soziale und umweltbezogene Faktoren gemeinsam den Geschäftserfolg beeinflussen. </a:t>
            </a:r>
          </a:p>
          <a:p>
            <a:pPr algn="just">
              <a:spcAft>
                <a:spcPts val="600"/>
              </a:spcAft>
            </a:pPr>
            <a:r>
              <a:rPr lang="en-GB" sz="2000" dirty="0"/>
              <a:t>Betonung der umfassenderen Auswirkungen der Einführung von TBL, um die Teilnehmer zu ermutigen, die Verflechtung ihrer Entscheidungen mit wirtschaftlichem Wohlstand, gesellschaftlichen Auswirkungen und Umweltaspekten zu erkennen. </a:t>
            </a:r>
            <a:endParaRPr lang="en-US" sz="2000" dirty="0"/>
          </a:p>
        </p:txBody>
      </p:sp>
      <p:pic>
        <p:nvPicPr>
          <p:cNvPr id="3" name="Picture Placeholder 4">
            <a:extLst>
              <a:ext uri="{FF2B5EF4-FFF2-40B4-BE49-F238E27FC236}">
                <a16:creationId xmlns:a16="http://schemas.microsoft.com/office/drawing/2014/main" id="{8821C949-B3D2-32CF-2FA0-E8560F190BB2}"/>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11053" b="11053"/>
          <a:stretch/>
        </p:blipFill>
        <p:spPr>
          <a:xfrm>
            <a:off x="0" y="0"/>
            <a:ext cx="5875338" cy="6858000"/>
          </a:xfrm>
        </p:spPr>
      </p:pic>
    </p:spTree>
    <p:extLst>
      <p:ext uri="{BB962C8B-B14F-4D97-AF65-F5344CB8AC3E}">
        <p14:creationId xmlns:p14="http://schemas.microsoft.com/office/powerpoint/2010/main" val="3996798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ef88797d-310b-4d46-ad9c-0c23fa0c8d4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F02E0EF7D44C04B9FA644DBFF45FF6A" ma:contentTypeVersion="13" ma:contentTypeDescription="Create a new document." ma:contentTypeScope="" ma:versionID="206b9469efed5238e3299da57cdc015e">
  <xsd:schema xmlns:xsd="http://www.w3.org/2001/XMLSchema" xmlns:xs="http://www.w3.org/2001/XMLSchema" xmlns:p="http://schemas.microsoft.com/office/2006/metadata/properties" xmlns:ns2="876de33e-aaa5-4507-9b92-b84e676ded0d" xmlns:ns3="ef88797d-310b-4d46-ad9c-0c23fa0c8d45" targetNamespace="http://schemas.microsoft.com/office/2006/metadata/properties" ma:root="true" ma:fieldsID="281ed500249cd3fe925a7af84a8b56c4" ns2:_="" ns3:_="">
    <xsd:import namespace="876de33e-aaa5-4507-9b92-b84e676ded0d"/>
    <xsd:import namespace="ef88797d-310b-4d46-ad9c-0c23fa0c8d4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EventHashCode" minOccurs="0"/>
                <xsd:element ref="ns3:MediaServiceGenerationTime" minOccurs="0"/>
                <xsd:element ref="ns3:MediaServiceAutoKeyPoints" minOccurs="0"/>
                <xsd:element ref="ns3:MediaServiceKeyPoints"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6de33e-aaa5-4507-9b92-b84e676ded0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f88797d-310b-4d46-ad9c-0c23fa0c8d4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9AD2B3-D789-4FC7-A14D-89ADA76B73A8}">
  <ds:schemaRefs>
    <ds:schemaRef ds:uri="http://schemas.microsoft.com/office/2006/metadata/properties"/>
    <ds:schemaRef ds:uri="http://schemas.microsoft.com/office/infopath/2007/PartnerControls"/>
    <ds:schemaRef ds:uri="ef88797d-310b-4d46-ad9c-0c23fa0c8d45"/>
  </ds:schemaRefs>
</ds:datastoreItem>
</file>

<file path=customXml/itemProps2.xml><?xml version="1.0" encoding="utf-8"?>
<ds:datastoreItem xmlns:ds="http://schemas.openxmlformats.org/officeDocument/2006/customXml" ds:itemID="{B39800E7-4362-4A70-9B48-B5AE1C9F476B}">
  <ds:schemaRefs>
    <ds:schemaRef ds:uri="http://schemas.microsoft.com/sharepoint/v3/contenttype/forms"/>
  </ds:schemaRefs>
</ds:datastoreItem>
</file>

<file path=customXml/itemProps3.xml><?xml version="1.0" encoding="utf-8"?>
<ds:datastoreItem xmlns:ds="http://schemas.openxmlformats.org/officeDocument/2006/customXml" ds:itemID="{7F83B94A-925B-4414-927F-DFD616E23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6de33e-aaa5-4507-9b92-b84e676ded0d"/>
    <ds:schemaRef ds:uri="ef88797d-310b-4d46-ad9c-0c23fa0c8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emplate>Magazine layout</Template>
  <TotalTime>0</TotalTime>
  <Words>5563</Words>
  <Application>Microsoft Office PowerPoint</Application>
  <PresentationFormat>Widescreen</PresentationFormat>
  <Paragraphs>289</Paragraphs>
  <Slides>65</Slides>
  <Notes>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70" baseType="lpstr">
      <vt:lpstr>Arial</vt:lpstr>
      <vt:lpstr>Calibri</vt:lpstr>
      <vt:lpstr>Montserra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nt cover</dc:title>
  <dc:creator>Samantha Carty</dc:creator>
  <cp:keywords>, docId:F75EBAD152443FA9AF9A562564C44FD1</cp:keywords>
  <cp:lastModifiedBy>aine hamill</cp:lastModifiedBy>
  <cp:revision>434</cp:revision>
  <dcterms:created xsi:type="dcterms:W3CDTF">2021-06-15T11:45:52Z</dcterms:created>
  <dcterms:modified xsi:type="dcterms:W3CDTF">2025-05-16T14:5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2E0EF7D44C04B9FA644DBFF45FF6A</vt:lpwstr>
  </property>
</Properties>
</file>